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83" r:id="rId2"/>
    <p:sldId id="261" r:id="rId3"/>
    <p:sldId id="284" r:id="rId4"/>
    <p:sldId id="257" r:id="rId5"/>
    <p:sldId id="259" r:id="rId6"/>
    <p:sldId id="260" r:id="rId7"/>
    <p:sldId id="263" r:id="rId8"/>
    <p:sldId id="266" r:id="rId9"/>
    <p:sldId id="267" r:id="rId10"/>
    <p:sldId id="262" r:id="rId11"/>
    <p:sldId id="281" r:id="rId12"/>
    <p:sldId id="265" r:id="rId13"/>
    <p:sldId id="268" r:id="rId14"/>
    <p:sldId id="269" r:id="rId15"/>
    <p:sldId id="282" r:id="rId16"/>
    <p:sldId id="271" r:id="rId17"/>
    <p:sldId id="272" r:id="rId18"/>
    <p:sldId id="273" r:id="rId19"/>
    <p:sldId id="275" r:id="rId20"/>
    <p:sldId id="276" r:id="rId21"/>
    <p:sldId id="279" r:id="rId22"/>
    <p:sldId id="277" r:id="rId23"/>
    <p:sldId id="278" r:id="rId24"/>
    <p:sldId id="280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432" autoAdjust="0"/>
  </p:normalViewPr>
  <p:slideViewPr>
    <p:cSldViewPr snapToGrid="0">
      <p:cViewPr varScale="1">
        <p:scale>
          <a:sx n="108" d="100"/>
          <a:sy n="108" d="100"/>
        </p:scale>
        <p:origin x="1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4FDE3-2C3D-4644-B680-37E412769733}" type="doc">
      <dgm:prSet loTypeId="urn:microsoft.com/office/officeart/2008/layout/LinedList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C27E277F-98B2-4891-8A4E-643001AEB3F3}">
      <dgm:prSet/>
      <dgm:spPr/>
      <dgm:t>
        <a:bodyPr/>
        <a:lstStyle/>
        <a:p>
          <a:r>
            <a:rPr lang="de-DE"/>
            <a:t>Aufbau der Anlage</a:t>
          </a:r>
          <a:endParaRPr lang="en-US"/>
        </a:p>
      </dgm:t>
    </dgm:pt>
    <dgm:pt modelId="{75C53527-B248-4F17-91FE-8C5CD0ACB4F0}" type="parTrans" cxnId="{845016DB-9880-4313-8769-0C4A7A62EE70}">
      <dgm:prSet/>
      <dgm:spPr/>
      <dgm:t>
        <a:bodyPr/>
        <a:lstStyle/>
        <a:p>
          <a:endParaRPr lang="en-US"/>
        </a:p>
      </dgm:t>
    </dgm:pt>
    <dgm:pt modelId="{D28B3614-B581-4606-A61C-86BD0E7EE601}" type="sibTrans" cxnId="{845016DB-9880-4313-8769-0C4A7A62EE70}">
      <dgm:prSet/>
      <dgm:spPr/>
      <dgm:t>
        <a:bodyPr/>
        <a:lstStyle/>
        <a:p>
          <a:endParaRPr lang="en-US"/>
        </a:p>
      </dgm:t>
    </dgm:pt>
    <dgm:pt modelId="{E2C333CA-F0DF-41B4-BB17-E9FBF3E03142}">
      <dgm:prSet/>
      <dgm:spPr/>
      <dgm:t>
        <a:bodyPr/>
        <a:lstStyle/>
        <a:p>
          <a:r>
            <a:rPr lang="de-DE"/>
            <a:t>Telegramme und Image</a:t>
          </a:r>
          <a:endParaRPr lang="en-US"/>
        </a:p>
      </dgm:t>
    </dgm:pt>
    <dgm:pt modelId="{AC49315A-00F7-4264-9235-8D17CC7DD2B6}" type="parTrans" cxnId="{79EE081A-BEFD-49F2-9007-1CE1BB40272C}">
      <dgm:prSet/>
      <dgm:spPr/>
      <dgm:t>
        <a:bodyPr/>
        <a:lstStyle/>
        <a:p>
          <a:endParaRPr lang="en-US"/>
        </a:p>
      </dgm:t>
    </dgm:pt>
    <dgm:pt modelId="{A438F16B-CA01-4C5E-822A-766B947BF5CA}" type="sibTrans" cxnId="{79EE081A-BEFD-49F2-9007-1CE1BB40272C}">
      <dgm:prSet/>
      <dgm:spPr/>
      <dgm:t>
        <a:bodyPr/>
        <a:lstStyle/>
        <a:p>
          <a:endParaRPr lang="en-US"/>
        </a:p>
      </dgm:t>
    </dgm:pt>
    <dgm:pt modelId="{EF68F7E2-D0C2-4D01-B5AB-917B5AFCE449}">
      <dgm:prSet/>
      <dgm:spPr/>
      <dgm:t>
        <a:bodyPr/>
        <a:lstStyle/>
        <a:p>
          <a:r>
            <a:rPr lang="de-DE"/>
            <a:t>Visualisierung</a:t>
          </a:r>
          <a:endParaRPr lang="en-US"/>
        </a:p>
      </dgm:t>
    </dgm:pt>
    <dgm:pt modelId="{01BC0168-A79A-4A08-A1FB-24708F8B9390}" type="parTrans" cxnId="{A9B75C08-1D55-4EDB-9447-C53A7907D74C}">
      <dgm:prSet/>
      <dgm:spPr/>
      <dgm:t>
        <a:bodyPr/>
        <a:lstStyle/>
        <a:p>
          <a:endParaRPr lang="en-US"/>
        </a:p>
      </dgm:t>
    </dgm:pt>
    <dgm:pt modelId="{C24696F5-C045-42DD-8605-B05B6CCED3D0}" type="sibTrans" cxnId="{A9B75C08-1D55-4EDB-9447-C53A7907D74C}">
      <dgm:prSet/>
      <dgm:spPr/>
      <dgm:t>
        <a:bodyPr/>
        <a:lstStyle/>
        <a:p>
          <a:endParaRPr lang="en-US"/>
        </a:p>
      </dgm:t>
    </dgm:pt>
    <dgm:pt modelId="{5E8ADC64-0F18-492B-957A-CC6CF2C79465}">
      <dgm:prSet/>
      <dgm:spPr/>
      <dgm:t>
        <a:bodyPr/>
        <a:lstStyle/>
        <a:p>
          <a:r>
            <a:rPr lang="de-DE" dirty="0"/>
            <a:t>Move Modul</a:t>
          </a:r>
          <a:endParaRPr lang="en-US" dirty="0"/>
        </a:p>
      </dgm:t>
    </dgm:pt>
    <dgm:pt modelId="{95679D65-4341-4F3E-BF0E-4F053E53D51A}" type="parTrans" cxnId="{3E6A90DC-985F-4B3D-9936-60E5E845D934}">
      <dgm:prSet/>
      <dgm:spPr/>
      <dgm:t>
        <a:bodyPr/>
        <a:lstStyle/>
        <a:p>
          <a:endParaRPr lang="en-US"/>
        </a:p>
      </dgm:t>
    </dgm:pt>
    <dgm:pt modelId="{0D134772-D2B5-475F-8C32-FFEE2784709E}" type="sibTrans" cxnId="{3E6A90DC-985F-4B3D-9936-60E5E845D934}">
      <dgm:prSet/>
      <dgm:spPr/>
      <dgm:t>
        <a:bodyPr/>
        <a:lstStyle/>
        <a:p>
          <a:endParaRPr lang="en-US"/>
        </a:p>
      </dgm:t>
    </dgm:pt>
    <dgm:pt modelId="{616E8AD9-6FED-4424-8035-D567AC933E3B}">
      <dgm:prSet/>
      <dgm:spPr/>
      <dgm:t>
        <a:bodyPr/>
        <a:lstStyle/>
        <a:p>
          <a:r>
            <a:rPr lang="de-DE"/>
            <a:t>Test</a:t>
          </a:r>
          <a:endParaRPr lang="en-US"/>
        </a:p>
      </dgm:t>
    </dgm:pt>
    <dgm:pt modelId="{EA7D5183-5D4D-4204-BC75-66513F663582}" type="parTrans" cxnId="{C917A966-CD28-4867-9251-A8F72C513050}">
      <dgm:prSet/>
      <dgm:spPr/>
      <dgm:t>
        <a:bodyPr/>
        <a:lstStyle/>
        <a:p>
          <a:endParaRPr lang="en-US"/>
        </a:p>
      </dgm:t>
    </dgm:pt>
    <dgm:pt modelId="{A0249937-2FDB-4A24-8B03-EF27989C3389}" type="sibTrans" cxnId="{C917A966-CD28-4867-9251-A8F72C513050}">
      <dgm:prSet/>
      <dgm:spPr/>
      <dgm:t>
        <a:bodyPr/>
        <a:lstStyle/>
        <a:p>
          <a:endParaRPr lang="en-US"/>
        </a:p>
      </dgm:t>
    </dgm:pt>
    <dgm:pt modelId="{7A779064-392B-4E41-86D6-8B04256BD45E}">
      <dgm:prSet/>
      <dgm:spPr/>
      <dgm:t>
        <a:bodyPr/>
        <a:lstStyle/>
        <a:p>
          <a:r>
            <a:rPr lang="de-DE"/>
            <a:t>Fazit </a:t>
          </a:r>
          <a:endParaRPr lang="en-US"/>
        </a:p>
      </dgm:t>
    </dgm:pt>
    <dgm:pt modelId="{2C3E2B5B-184A-4862-84D5-74706A1DC7AC}" type="parTrans" cxnId="{FD41B3F8-FCA5-4464-9D09-653F896F5B50}">
      <dgm:prSet/>
      <dgm:spPr/>
      <dgm:t>
        <a:bodyPr/>
        <a:lstStyle/>
        <a:p>
          <a:endParaRPr lang="en-US"/>
        </a:p>
      </dgm:t>
    </dgm:pt>
    <dgm:pt modelId="{42899169-CFC4-42E0-A44A-71D21DF83463}" type="sibTrans" cxnId="{FD41B3F8-FCA5-4464-9D09-653F896F5B50}">
      <dgm:prSet/>
      <dgm:spPr/>
      <dgm:t>
        <a:bodyPr/>
        <a:lstStyle/>
        <a:p>
          <a:endParaRPr lang="en-US"/>
        </a:p>
      </dgm:t>
    </dgm:pt>
    <dgm:pt modelId="{3BB0979D-6F64-4C1E-8264-F965E7CA5644}">
      <dgm:prSet/>
      <dgm:spPr/>
      <dgm:t>
        <a:bodyPr/>
        <a:lstStyle/>
        <a:p>
          <a:r>
            <a:rPr lang="de-DE"/>
            <a:t>Zukunft</a:t>
          </a:r>
          <a:endParaRPr lang="en-US"/>
        </a:p>
      </dgm:t>
    </dgm:pt>
    <dgm:pt modelId="{D9331946-C4FD-446A-9C61-8BDB77C20D0E}" type="parTrans" cxnId="{BA407375-96C4-4F61-A5EB-B60EE7ABAFC4}">
      <dgm:prSet/>
      <dgm:spPr/>
      <dgm:t>
        <a:bodyPr/>
        <a:lstStyle/>
        <a:p>
          <a:endParaRPr lang="en-US"/>
        </a:p>
      </dgm:t>
    </dgm:pt>
    <dgm:pt modelId="{701B0CA1-5B42-4B64-B172-A24251F732BD}" type="sibTrans" cxnId="{BA407375-96C4-4F61-A5EB-B60EE7ABAFC4}">
      <dgm:prSet/>
      <dgm:spPr/>
      <dgm:t>
        <a:bodyPr/>
        <a:lstStyle/>
        <a:p>
          <a:endParaRPr lang="en-US"/>
        </a:p>
      </dgm:t>
    </dgm:pt>
    <dgm:pt modelId="{00259D31-5668-46AC-8475-5968B2774A8B}" type="pres">
      <dgm:prSet presAssocID="{1B54FDE3-2C3D-4644-B680-37E412769733}" presName="vert0" presStyleCnt="0">
        <dgm:presLayoutVars>
          <dgm:dir/>
          <dgm:animOne val="branch"/>
          <dgm:animLvl val="lvl"/>
        </dgm:presLayoutVars>
      </dgm:prSet>
      <dgm:spPr/>
    </dgm:pt>
    <dgm:pt modelId="{55928023-072F-4297-879C-E36572CD332D}" type="pres">
      <dgm:prSet presAssocID="{C27E277F-98B2-4891-8A4E-643001AEB3F3}" presName="thickLine" presStyleLbl="alignNode1" presStyleIdx="0" presStyleCnt="7"/>
      <dgm:spPr/>
    </dgm:pt>
    <dgm:pt modelId="{996FD099-9EF4-4F2E-9015-8860A524552B}" type="pres">
      <dgm:prSet presAssocID="{C27E277F-98B2-4891-8A4E-643001AEB3F3}" presName="horz1" presStyleCnt="0"/>
      <dgm:spPr/>
    </dgm:pt>
    <dgm:pt modelId="{2BF75A24-8C4F-40B4-8F00-9BB92CF67D9B}" type="pres">
      <dgm:prSet presAssocID="{C27E277F-98B2-4891-8A4E-643001AEB3F3}" presName="tx1" presStyleLbl="revTx" presStyleIdx="0" presStyleCnt="7"/>
      <dgm:spPr/>
    </dgm:pt>
    <dgm:pt modelId="{F2962D39-9E10-45BE-A7D2-16065ED8F057}" type="pres">
      <dgm:prSet presAssocID="{C27E277F-98B2-4891-8A4E-643001AEB3F3}" presName="vert1" presStyleCnt="0"/>
      <dgm:spPr/>
    </dgm:pt>
    <dgm:pt modelId="{5A80305A-A810-452F-98AC-7CEF73B9DB5E}" type="pres">
      <dgm:prSet presAssocID="{E2C333CA-F0DF-41B4-BB17-E9FBF3E03142}" presName="thickLine" presStyleLbl="alignNode1" presStyleIdx="1" presStyleCnt="7"/>
      <dgm:spPr/>
    </dgm:pt>
    <dgm:pt modelId="{DC8AE3C5-ABD2-4FD5-BCA5-831B47B67A68}" type="pres">
      <dgm:prSet presAssocID="{E2C333CA-F0DF-41B4-BB17-E9FBF3E03142}" presName="horz1" presStyleCnt="0"/>
      <dgm:spPr/>
    </dgm:pt>
    <dgm:pt modelId="{D5136C6D-008F-4E36-8C24-CD9E34661A2E}" type="pres">
      <dgm:prSet presAssocID="{E2C333CA-F0DF-41B4-BB17-E9FBF3E03142}" presName="tx1" presStyleLbl="revTx" presStyleIdx="1" presStyleCnt="7"/>
      <dgm:spPr/>
    </dgm:pt>
    <dgm:pt modelId="{38A173DD-6D02-41F2-8AF4-DFCACB7C6ADD}" type="pres">
      <dgm:prSet presAssocID="{E2C333CA-F0DF-41B4-BB17-E9FBF3E03142}" presName="vert1" presStyleCnt="0"/>
      <dgm:spPr/>
    </dgm:pt>
    <dgm:pt modelId="{F475C09C-4B93-4EB7-A5DA-0C39C0941E1A}" type="pres">
      <dgm:prSet presAssocID="{EF68F7E2-D0C2-4D01-B5AB-917B5AFCE449}" presName="thickLine" presStyleLbl="alignNode1" presStyleIdx="2" presStyleCnt="7"/>
      <dgm:spPr/>
    </dgm:pt>
    <dgm:pt modelId="{B8DAAC14-526C-4B97-800C-BE63C9021A04}" type="pres">
      <dgm:prSet presAssocID="{EF68F7E2-D0C2-4D01-B5AB-917B5AFCE449}" presName="horz1" presStyleCnt="0"/>
      <dgm:spPr/>
    </dgm:pt>
    <dgm:pt modelId="{79EA0E0B-6A82-4C99-9A1E-56DAA42E93BD}" type="pres">
      <dgm:prSet presAssocID="{EF68F7E2-D0C2-4D01-B5AB-917B5AFCE449}" presName="tx1" presStyleLbl="revTx" presStyleIdx="2" presStyleCnt="7"/>
      <dgm:spPr/>
    </dgm:pt>
    <dgm:pt modelId="{81984C09-13C0-4BEB-9590-CCEFC9666BD6}" type="pres">
      <dgm:prSet presAssocID="{EF68F7E2-D0C2-4D01-B5AB-917B5AFCE449}" presName="vert1" presStyleCnt="0"/>
      <dgm:spPr/>
    </dgm:pt>
    <dgm:pt modelId="{5B703EF1-B5DB-4772-A524-E06418A7C90C}" type="pres">
      <dgm:prSet presAssocID="{5E8ADC64-0F18-492B-957A-CC6CF2C79465}" presName="thickLine" presStyleLbl="alignNode1" presStyleIdx="3" presStyleCnt="7"/>
      <dgm:spPr/>
    </dgm:pt>
    <dgm:pt modelId="{FC3DC302-188B-4E10-B892-96B64C4522B3}" type="pres">
      <dgm:prSet presAssocID="{5E8ADC64-0F18-492B-957A-CC6CF2C79465}" presName="horz1" presStyleCnt="0"/>
      <dgm:spPr/>
    </dgm:pt>
    <dgm:pt modelId="{DAF8BC61-4BCF-4C8D-826C-B7922E32BA3C}" type="pres">
      <dgm:prSet presAssocID="{5E8ADC64-0F18-492B-957A-CC6CF2C79465}" presName="tx1" presStyleLbl="revTx" presStyleIdx="3" presStyleCnt="7"/>
      <dgm:spPr/>
    </dgm:pt>
    <dgm:pt modelId="{A7AAE3DB-34AA-4A0A-BDC3-ED4879422DF0}" type="pres">
      <dgm:prSet presAssocID="{5E8ADC64-0F18-492B-957A-CC6CF2C79465}" presName="vert1" presStyleCnt="0"/>
      <dgm:spPr/>
    </dgm:pt>
    <dgm:pt modelId="{E35F2974-5F7A-427F-929B-E8CD735BA162}" type="pres">
      <dgm:prSet presAssocID="{616E8AD9-6FED-4424-8035-D567AC933E3B}" presName="thickLine" presStyleLbl="alignNode1" presStyleIdx="4" presStyleCnt="7"/>
      <dgm:spPr/>
    </dgm:pt>
    <dgm:pt modelId="{47F3B77D-69A3-470B-97E7-DF3B36156035}" type="pres">
      <dgm:prSet presAssocID="{616E8AD9-6FED-4424-8035-D567AC933E3B}" presName="horz1" presStyleCnt="0"/>
      <dgm:spPr/>
    </dgm:pt>
    <dgm:pt modelId="{4C82E03E-AD8D-4350-BA1A-1FD16EDA6B0C}" type="pres">
      <dgm:prSet presAssocID="{616E8AD9-6FED-4424-8035-D567AC933E3B}" presName="tx1" presStyleLbl="revTx" presStyleIdx="4" presStyleCnt="7"/>
      <dgm:spPr/>
    </dgm:pt>
    <dgm:pt modelId="{17644C23-9769-4102-AF69-814F05850F78}" type="pres">
      <dgm:prSet presAssocID="{616E8AD9-6FED-4424-8035-D567AC933E3B}" presName="vert1" presStyleCnt="0"/>
      <dgm:spPr/>
    </dgm:pt>
    <dgm:pt modelId="{BCD4A890-D6E7-4390-A534-80C3A6C68784}" type="pres">
      <dgm:prSet presAssocID="{7A779064-392B-4E41-86D6-8B04256BD45E}" presName="thickLine" presStyleLbl="alignNode1" presStyleIdx="5" presStyleCnt="7"/>
      <dgm:spPr/>
    </dgm:pt>
    <dgm:pt modelId="{71BC4CD1-3F44-42E9-B7B0-60C95DC896C4}" type="pres">
      <dgm:prSet presAssocID="{7A779064-392B-4E41-86D6-8B04256BD45E}" presName="horz1" presStyleCnt="0"/>
      <dgm:spPr/>
    </dgm:pt>
    <dgm:pt modelId="{7C388A7D-90E4-4E2A-975F-061AFB8E09A0}" type="pres">
      <dgm:prSet presAssocID="{7A779064-392B-4E41-86D6-8B04256BD45E}" presName="tx1" presStyleLbl="revTx" presStyleIdx="5" presStyleCnt="7"/>
      <dgm:spPr/>
    </dgm:pt>
    <dgm:pt modelId="{FD07C8DA-9372-4642-89BA-9DAB883A23C6}" type="pres">
      <dgm:prSet presAssocID="{7A779064-392B-4E41-86D6-8B04256BD45E}" presName="vert1" presStyleCnt="0"/>
      <dgm:spPr/>
    </dgm:pt>
    <dgm:pt modelId="{A3FEB88E-9277-4F95-83D4-11B6843A134A}" type="pres">
      <dgm:prSet presAssocID="{3BB0979D-6F64-4C1E-8264-F965E7CA5644}" presName="thickLine" presStyleLbl="alignNode1" presStyleIdx="6" presStyleCnt="7"/>
      <dgm:spPr/>
    </dgm:pt>
    <dgm:pt modelId="{B9381A40-E385-415D-B75D-6125104118D9}" type="pres">
      <dgm:prSet presAssocID="{3BB0979D-6F64-4C1E-8264-F965E7CA5644}" presName="horz1" presStyleCnt="0"/>
      <dgm:spPr/>
    </dgm:pt>
    <dgm:pt modelId="{05BFFCCE-3C11-4737-B52B-913939E90CC5}" type="pres">
      <dgm:prSet presAssocID="{3BB0979D-6F64-4C1E-8264-F965E7CA5644}" presName="tx1" presStyleLbl="revTx" presStyleIdx="6" presStyleCnt="7"/>
      <dgm:spPr/>
    </dgm:pt>
    <dgm:pt modelId="{BA790071-E0F2-4F21-A124-7816F3C984D2}" type="pres">
      <dgm:prSet presAssocID="{3BB0979D-6F64-4C1E-8264-F965E7CA5644}" presName="vert1" presStyleCnt="0"/>
      <dgm:spPr/>
    </dgm:pt>
  </dgm:ptLst>
  <dgm:cxnLst>
    <dgm:cxn modelId="{7AA52306-35FE-42D4-8A2A-86CFC755F576}" type="presOf" srcId="{C27E277F-98B2-4891-8A4E-643001AEB3F3}" destId="{2BF75A24-8C4F-40B4-8F00-9BB92CF67D9B}" srcOrd="0" destOrd="0" presId="urn:microsoft.com/office/officeart/2008/layout/LinedList"/>
    <dgm:cxn modelId="{A9B75C08-1D55-4EDB-9447-C53A7907D74C}" srcId="{1B54FDE3-2C3D-4644-B680-37E412769733}" destId="{EF68F7E2-D0C2-4D01-B5AB-917B5AFCE449}" srcOrd="2" destOrd="0" parTransId="{01BC0168-A79A-4A08-A1FB-24708F8B9390}" sibTransId="{C24696F5-C045-42DD-8605-B05B6CCED3D0}"/>
    <dgm:cxn modelId="{79EE081A-BEFD-49F2-9007-1CE1BB40272C}" srcId="{1B54FDE3-2C3D-4644-B680-37E412769733}" destId="{E2C333CA-F0DF-41B4-BB17-E9FBF3E03142}" srcOrd="1" destOrd="0" parTransId="{AC49315A-00F7-4264-9235-8D17CC7DD2B6}" sibTransId="{A438F16B-CA01-4C5E-822A-766B947BF5CA}"/>
    <dgm:cxn modelId="{E8D86939-E069-4343-9C07-4C78BF2A6A46}" type="presOf" srcId="{1B54FDE3-2C3D-4644-B680-37E412769733}" destId="{00259D31-5668-46AC-8475-5968B2774A8B}" srcOrd="0" destOrd="0" presId="urn:microsoft.com/office/officeart/2008/layout/LinedList"/>
    <dgm:cxn modelId="{EE61313B-42D2-4AA7-A81E-9999BD258B2D}" type="presOf" srcId="{3BB0979D-6F64-4C1E-8264-F965E7CA5644}" destId="{05BFFCCE-3C11-4737-B52B-913939E90CC5}" srcOrd="0" destOrd="0" presId="urn:microsoft.com/office/officeart/2008/layout/LinedList"/>
    <dgm:cxn modelId="{C917A966-CD28-4867-9251-A8F72C513050}" srcId="{1B54FDE3-2C3D-4644-B680-37E412769733}" destId="{616E8AD9-6FED-4424-8035-D567AC933E3B}" srcOrd="4" destOrd="0" parTransId="{EA7D5183-5D4D-4204-BC75-66513F663582}" sibTransId="{A0249937-2FDB-4A24-8B03-EF27989C3389}"/>
    <dgm:cxn modelId="{4789ED70-6940-4AF0-BE33-BE73EDCB9FA8}" type="presOf" srcId="{E2C333CA-F0DF-41B4-BB17-E9FBF3E03142}" destId="{D5136C6D-008F-4E36-8C24-CD9E34661A2E}" srcOrd="0" destOrd="0" presId="urn:microsoft.com/office/officeart/2008/layout/LinedList"/>
    <dgm:cxn modelId="{BA407375-96C4-4F61-A5EB-B60EE7ABAFC4}" srcId="{1B54FDE3-2C3D-4644-B680-37E412769733}" destId="{3BB0979D-6F64-4C1E-8264-F965E7CA5644}" srcOrd="6" destOrd="0" parTransId="{D9331946-C4FD-446A-9C61-8BDB77C20D0E}" sibTransId="{701B0CA1-5B42-4B64-B172-A24251F732BD}"/>
    <dgm:cxn modelId="{2FFAD488-C78D-4D00-8AFA-93FE0EA83909}" type="presOf" srcId="{7A779064-392B-4E41-86D6-8B04256BD45E}" destId="{7C388A7D-90E4-4E2A-975F-061AFB8E09A0}" srcOrd="0" destOrd="0" presId="urn:microsoft.com/office/officeart/2008/layout/LinedList"/>
    <dgm:cxn modelId="{FA72F38F-588D-4A0F-8815-F85E28C13E75}" type="presOf" srcId="{EF68F7E2-D0C2-4D01-B5AB-917B5AFCE449}" destId="{79EA0E0B-6A82-4C99-9A1E-56DAA42E93BD}" srcOrd="0" destOrd="0" presId="urn:microsoft.com/office/officeart/2008/layout/LinedList"/>
    <dgm:cxn modelId="{958CAED5-2EBD-4F6C-BA26-0A0DF82D3FD6}" type="presOf" srcId="{616E8AD9-6FED-4424-8035-D567AC933E3B}" destId="{4C82E03E-AD8D-4350-BA1A-1FD16EDA6B0C}" srcOrd="0" destOrd="0" presId="urn:microsoft.com/office/officeart/2008/layout/LinedList"/>
    <dgm:cxn modelId="{1A8213D6-10E3-4688-A939-7B7DC6BEE7B1}" type="presOf" srcId="{5E8ADC64-0F18-492B-957A-CC6CF2C79465}" destId="{DAF8BC61-4BCF-4C8D-826C-B7922E32BA3C}" srcOrd="0" destOrd="0" presId="urn:microsoft.com/office/officeart/2008/layout/LinedList"/>
    <dgm:cxn modelId="{845016DB-9880-4313-8769-0C4A7A62EE70}" srcId="{1B54FDE3-2C3D-4644-B680-37E412769733}" destId="{C27E277F-98B2-4891-8A4E-643001AEB3F3}" srcOrd="0" destOrd="0" parTransId="{75C53527-B248-4F17-91FE-8C5CD0ACB4F0}" sibTransId="{D28B3614-B581-4606-A61C-86BD0E7EE601}"/>
    <dgm:cxn modelId="{3E6A90DC-985F-4B3D-9936-60E5E845D934}" srcId="{1B54FDE3-2C3D-4644-B680-37E412769733}" destId="{5E8ADC64-0F18-492B-957A-CC6CF2C79465}" srcOrd="3" destOrd="0" parTransId="{95679D65-4341-4F3E-BF0E-4F053E53D51A}" sibTransId="{0D134772-D2B5-475F-8C32-FFEE2784709E}"/>
    <dgm:cxn modelId="{FD41B3F8-FCA5-4464-9D09-653F896F5B50}" srcId="{1B54FDE3-2C3D-4644-B680-37E412769733}" destId="{7A779064-392B-4E41-86D6-8B04256BD45E}" srcOrd="5" destOrd="0" parTransId="{2C3E2B5B-184A-4862-84D5-74706A1DC7AC}" sibTransId="{42899169-CFC4-42E0-A44A-71D21DF83463}"/>
    <dgm:cxn modelId="{0ADD9687-1256-4161-817B-33EDB8804400}" type="presParOf" srcId="{00259D31-5668-46AC-8475-5968B2774A8B}" destId="{55928023-072F-4297-879C-E36572CD332D}" srcOrd="0" destOrd="0" presId="urn:microsoft.com/office/officeart/2008/layout/LinedList"/>
    <dgm:cxn modelId="{C7E75378-C857-47CE-B7B0-51C23D94BAEB}" type="presParOf" srcId="{00259D31-5668-46AC-8475-5968B2774A8B}" destId="{996FD099-9EF4-4F2E-9015-8860A524552B}" srcOrd="1" destOrd="0" presId="urn:microsoft.com/office/officeart/2008/layout/LinedList"/>
    <dgm:cxn modelId="{279703A9-E81E-421F-BF86-E7A721B58744}" type="presParOf" srcId="{996FD099-9EF4-4F2E-9015-8860A524552B}" destId="{2BF75A24-8C4F-40B4-8F00-9BB92CF67D9B}" srcOrd="0" destOrd="0" presId="urn:microsoft.com/office/officeart/2008/layout/LinedList"/>
    <dgm:cxn modelId="{720061E1-3880-45B3-9AC9-6CAAF591A6CD}" type="presParOf" srcId="{996FD099-9EF4-4F2E-9015-8860A524552B}" destId="{F2962D39-9E10-45BE-A7D2-16065ED8F057}" srcOrd="1" destOrd="0" presId="urn:microsoft.com/office/officeart/2008/layout/LinedList"/>
    <dgm:cxn modelId="{DBFE9CCC-72B3-425D-9703-9C9B81FAF7C9}" type="presParOf" srcId="{00259D31-5668-46AC-8475-5968B2774A8B}" destId="{5A80305A-A810-452F-98AC-7CEF73B9DB5E}" srcOrd="2" destOrd="0" presId="urn:microsoft.com/office/officeart/2008/layout/LinedList"/>
    <dgm:cxn modelId="{894F9194-7905-4755-AC03-5333F78A7F0E}" type="presParOf" srcId="{00259D31-5668-46AC-8475-5968B2774A8B}" destId="{DC8AE3C5-ABD2-4FD5-BCA5-831B47B67A68}" srcOrd="3" destOrd="0" presId="urn:microsoft.com/office/officeart/2008/layout/LinedList"/>
    <dgm:cxn modelId="{DA93D817-DC9D-400A-80B5-F86960120874}" type="presParOf" srcId="{DC8AE3C5-ABD2-4FD5-BCA5-831B47B67A68}" destId="{D5136C6D-008F-4E36-8C24-CD9E34661A2E}" srcOrd="0" destOrd="0" presId="urn:microsoft.com/office/officeart/2008/layout/LinedList"/>
    <dgm:cxn modelId="{4E1EE21C-A38F-464D-86A0-021CF7255292}" type="presParOf" srcId="{DC8AE3C5-ABD2-4FD5-BCA5-831B47B67A68}" destId="{38A173DD-6D02-41F2-8AF4-DFCACB7C6ADD}" srcOrd="1" destOrd="0" presId="urn:microsoft.com/office/officeart/2008/layout/LinedList"/>
    <dgm:cxn modelId="{72CA3079-A2A1-47BD-B766-5BC7FF0EA28B}" type="presParOf" srcId="{00259D31-5668-46AC-8475-5968B2774A8B}" destId="{F475C09C-4B93-4EB7-A5DA-0C39C0941E1A}" srcOrd="4" destOrd="0" presId="urn:microsoft.com/office/officeart/2008/layout/LinedList"/>
    <dgm:cxn modelId="{AE054618-4C22-4B81-96C0-936FD0DBD348}" type="presParOf" srcId="{00259D31-5668-46AC-8475-5968B2774A8B}" destId="{B8DAAC14-526C-4B97-800C-BE63C9021A04}" srcOrd="5" destOrd="0" presId="urn:microsoft.com/office/officeart/2008/layout/LinedList"/>
    <dgm:cxn modelId="{7754CDC6-E37A-4FE6-9F33-28E9C74A4458}" type="presParOf" srcId="{B8DAAC14-526C-4B97-800C-BE63C9021A04}" destId="{79EA0E0B-6A82-4C99-9A1E-56DAA42E93BD}" srcOrd="0" destOrd="0" presId="urn:microsoft.com/office/officeart/2008/layout/LinedList"/>
    <dgm:cxn modelId="{A9F9ABB2-2644-4AF9-8227-7BB34BACD846}" type="presParOf" srcId="{B8DAAC14-526C-4B97-800C-BE63C9021A04}" destId="{81984C09-13C0-4BEB-9590-CCEFC9666BD6}" srcOrd="1" destOrd="0" presId="urn:microsoft.com/office/officeart/2008/layout/LinedList"/>
    <dgm:cxn modelId="{98C583BA-B06E-4138-A662-33806E169517}" type="presParOf" srcId="{00259D31-5668-46AC-8475-5968B2774A8B}" destId="{5B703EF1-B5DB-4772-A524-E06418A7C90C}" srcOrd="6" destOrd="0" presId="urn:microsoft.com/office/officeart/2008/layout/LinedList"/>
    <dgm:cxn modelId="{FDD955BF-37BD-4E0A-99D0-D9AA8DF263D0}" type="presParOf" srcId="{00259D31-5668-46AC-8475-5968B2774A8B}" destId="{FC3DC302-188B-4E10-B892-96B64C4522B3}" srcOrd="7" destOrd="0" presId="urn:microsoft.com/office/officeart/2008/layout/LinedList"/>
    <dgm:cxn modelId="{D06413EE-FBF2-492B-A5C5-C348AAC7E4F1}" type="presParOf" srcId="{FC3DC302-188B-4E10-B892-96B64C4522B3}" destId="{DAF8BC61-4BCF-4C8D-826C-B7922E32BA3C}" srcOrd="0" destOrd="0" presId="urn:microsoft.com/office/officeart/2008/layout/LinedList"/>
    <dgm:cxn modelId="{96095CB5-D26D-48B5-8E46-D68FC49F92AD}" type="presParOf" srcId="{FC3DC302-188B-4E10-B892-96B64C4522B3}" destId="{A7AAE3DB-34AA-4A0A-BDC3-ED4879422DF0}" srcOrd="1" destOrd="0" presId="urn:microsoft.com/office/officeart/2008/layout/LinedList"/>
    <dgm:cxn modelId="{935E6612-902F-4801-87B6-C5F908D7CC5E}" type="presParOf" srcId="{00259D31-5668-46AC-8475-5968B2774A8B}" destId="{E35F2974-5F7A-427F-929B-E8CD735BA162}" srcOrd="8" destOrd="0" presId="urn:microsoft.com/office/officeart/2008/layout/LinedList"/>
    <dgm:cxn modelId="{74A493D3-097E-436C-9035-04A4E189B4B8}" type="presParOf" srcId="{00259D31-5668-46AC-8475-5968B2774A8B}" destId="{47F3B77D-69A3-470B-97E7-DF3B36156035}" srcOrd="9" destOrd="0" presId="urn:microsoft.com/office/officeart/2008/layout/LinedList"/>
    <dgm:cxn modelId="{C8181A42-7BBF-45B1-AA42-AF9858FC684D}" type="presParOf" srcId="{47F3B77D-69A3-470B-97E7-DF3B36156035}" destId="{4C82E03E-AD8D-4350-BA1A-1FD16EDA6B0C}" srcOrd="0" destOrd="0" presId="urn:microsoft.com/office/officeart/2008/layout/LinedList"/>
    <dgm:cxn modelId="{4C5C7EC8-5120-4A51-A9AA-2D12A9A6947A}" type="presParOf" srcId="{47F3B77D-69A3-470B-97E7-DF3B36156035}" destId="{17644C23-9769-4102-AF69-814F05850F78}" srcOrd="1" destOrd="0" presId="urn:microsoft.com/office/officeart/2008/layout/LinedList"/>
    <dgm:cxn modelId="{6CE372FF-B908-408A-9AD1-3DFE895FEA26}" type="presParOf" srcId="{00259D31-5668-46AC-8475-5968B2774A8B}" destId="{BCD4A890-D6E7-4390-A534-80C3A6C68784}" srcOrd="10" destOrd="0" presId="urn:microsoft.com/office/officeart/2008/layout/LinedList"/>
    <dgm:cxn modelId="{06F397B1-CD2F-4297-8E3C-E7948C85E096}" type="presParOf" srcId="{00259D31-5668-46AC-8475-5968B2774A8B}" destId="{71BC4CD1-3F44-42E9-B7B0-60C95DC896C4}" srcOrd="11" destOrd="0" presId="urn:microsoft.com/office/officeart/2008/layout/LinedList"/>
    <dgm:cxn modelId="{215C6A78-0625-478B-A62E-3ECA454718B8}" type="presParOf" srcId="{71BC4CD1-3F44-42E9-B7B0-60C95DC896C4}" destId="{7C388A7D-90E4-4E2A-975F-061AFB8E09A0}" srcOrd="0" destOrd="0" presId="urn:microsoft.com/office/officeart/2008/layout/LinedList"/>
    <dgm:cxn modelId="{17D997C0-693B-4FBD-8CDF-EE35BC67FA61}" type="presParOf" srcId="{71BC4CD1-3F44-42E9-B7B0-60C95DC896C4}" destId="{FD07C8DA-9372-4642-89BA-9DAB883A23C6}" srcOrd="1" destOrd="0" presId="urn:microsoft.com/office/officeart/2008/layout/LinedList"/>
    <dgm:cxn modelId="{B0881B8F-26D6-4AD6-B649-E69F4767DED3}" type="presParOf" srcId="{00259D31-5668-46AC-8475-5968B2774A8B}" destId="{A3FEB88E-9277-4F95-83D4-11B6843A134A}" srcOrd="12" destOrd="0" presId="urn:microsoft.com/office/officeart/2008/layout/LinedList"/>
    <dgm:cxn modelId="{2444E3D1-C220-467E-B715-6D6F960BCC83}" type="presParOf" srcId="{00259D31-5668-46AC-8475-5968B2774A8B}" destId="{B9381A40-E385-415D-B75D-6125104118D9}" srcOrd="13" destOrd="0" presId="urn:microsoft.com/office/officeart/2008/layout/LinedList"/>
    <dgm:cxn modelId="{6BB01B2F-A0AD-4617-873B-EEF69BD8AD31}" type="presParOf" srcId="{B9381A40-E385-415D-B75D-6125104118D9}" destId="{05BFFCCE-3C11-4737-B52B-913939E90CC5}" srcOrd="0" destOrd="0" presId="urn:microsoft.com/office/officeart/2008/layout/LinedList"/>
    <dgm:cxn modelId="{478C0F1E-7A36-43C2-B932-5D785CC4B47E}" type="presParOf" srcId="{B9381A40-E385-415D-B75D-6125104118D9}" destId="{BA790071-E0F2-4F21-A124-7816F3C984D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0273-13D4-4CBC-AAAD-C0A94D2ECE35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US"/>
        </a:p>
      </dgm:t>
    </dgm:pt>
    <dgm:pt modelId="{DC17778F-C3F4-4162-8180-2703DCECD364}">
      <dgm:prSet/>
      <dgm:spPr/>
      <dgm:t>
        <a:bodyPr/>
        <a:lstStyle/>
        <a:p>
          <a:r>
            <a:rPr lang="de-DE"/>
            <a:t>Gut auf die Ausbildung angepasst</a:t>
          </a:r>
          <a:endParaRPr lang="en-US"/>
        </a:p>
      </dgm:t>
    </dgm:pt>
    <dgm:pt modelId="{63B22E75-8CFC-4EDB-96D2-31C7EFCF41B4}" type="parTrans" cxnId="{2F3341EC-A15F-4854-8DF8-9ADD64BA304D}">
      <dgm:prSet/>
      <dgm:spPr/>
      <dgm:t>
        <a:bodyPr/>
        <a:lstStyle/>
        <a:p>
          <a:endParaRPr lang="en-US"/>
        </a:p>
      </dgm:t>
    </dgm:pt>
    <dgm:pt modelId="{545414DC-F039-4793-AB2B-86B75C49E661}" type="sibTrans" cxnId="{2F3341EC-A15F-4854-8DF8-9ADD64BA304D}">
      <dgm:prSet/>
      <dgm:spPr/>
      <dgm:t>
        <a:bodyPr/>
        <a:lstStyle/>
        <a:p>
          <a:endParaRPr lang="en-US"/>
        </a:p>
      </dgm:t>
    </dgm:pt>
    <dgm:pt modelId="{AF49C04C-D2D9-4754-A216-3A2999A8AF3A}">
      <dgm:prSet/>
      <dgm:spPr/>
      <dgm:t>
        <a:bodyPr/>
        <a:lstStyle/>
        <a:p>
          <a:r>
            <a:rPr lang="de-CH"/>
            <a:t>Grosse Selbständigkeit</a:t>
          </a:r>
          <a:endParaRPr lang="en-US"/>
        </a:p>
      </dgm:t>
    </dgm:pt>
    <dgm:pt modelId="{E915E5F9-05B5-427C-A27F-550307477F2C}" type="parTrans" cxnId="{1902C6C3-F8F7-4CF5-9E26-D80619D6CADF}">
      <dgm:prSet/>
      <dgm:spPr/>
      <dgm:t>
        <a:bodyPr/>
        <a:lstStyle/>
        <a:p>
          <a:endParaRPr lang="en-US"/>
        </a:p>
      </dgm:t>
    </dgm:pt>
    <dgm:pt modelId="{B2042B39-3FD6-4FC0-A58A-0D74C3E80B75}" type="sibTrans" cxnId="{1902C6C3-F8F7-4CF5-9E26-D80619D6CADF}">
      <dgm:prSet/>
      <dgm:spPr/>
      <dgm:t>
        <a:bodyPr/>
        <a:lstStyle/>
        <a:p>
          <a:endParaRPr lang="en-US"/>
        </a:p>
      </dgm:t>
    </dgm:pt>
    <dgm:pt modelId="{0E0FA68E-06E3-4D89-A24D-1A2D019A2D0C}">
      <dgm:prSet/>
      <dgm:spPr/>
      <dgm:t>
        <a:bodyPr/>
        <a:lstStyle/>
        <a:p>
          <a:r>
            <a:rPr lang="de-DE"/>
            <a:t>SIS Dog hat viel Zeit in Anspruch genommen</a:t>
          </a:r>
          <a:endParaRPr lang="en-US"/>
        </a:p>
      </dgm:t>
    </dgm:pt>
    <dgm:pt modelId="{5C343996-BDC4-48B1-A4A0-959B94DC7B73}" type="parTrans" cxnId="{F0E0FA45-ABC6-4656-9277-83C753BCA18E}">
      <dgm:prSet/>
      <dgm:spPr/>
      <dgm:t>
        <a:bodyPr/>
        <a:lstStyle/>
        <a:p>
          <a:endParaRPr lang="en-US"/>
        </a:p>
      </dgm:t>
    </dgm:pt>
    <dgm:pt modelId="{423D4568-124B-454A-895A-74289E0B63C2}" type="sibTrans" cxnId="{F0E0FA45-ABC6-4656-9277-83C753BCA18E}">
      <dgm:prSet/>
      <dgm:spPr/>
      <dgm:t>
        <a:bodyPr/>
        <a:lstStyle/>
        <a:p>
          <a:endParaRPr lang="en-US"/>
        </a:p>
      </dgm:t>
    </dgm:pt>
    <dgm:pt modelId="{7A5A601D-B1AB-4C3D-B69C-7E565D37F680}">
      <dgm:prSet/>
      <dgm:spPr/>
      <dgm:t>
        <a:bodyPr/>
        <a:lstStyle/>
        <a:p>
          <a:r>
            <a:rPr lang="de-DE"/>
            <a:t>Anspruchsvollster Teil: Checkliste schreiben</a:t>
          </a:r>
          <a:endParaRPr lang="en-US"/>
        </a:p>
      </dgm:t>
    </dgm:pt>
    <dgm:pt modelId="{B4C628DA-39C7-49EE-B4FE-2A7ACCD42DC4}" type="parTrans" cxnId="{A14CCD11-E2F2-41FC-9411-D09C473D4C94}">
      <dgm:prSet/>
      <dgm:spPr/>
      <dgm:t>
        <a:bodyPr/>
        <a:lstStyle/>
        <a:p>
          <a:endParaRPr lang="en-US"/>
        </a:p>
      </dgm:t>
    </dgm:pt>
    <dgm:pt modelId="{657BB8FB-82E0-43AD-840E-4AA6F36ACEB2}" type="sibTrans" cxnId="{A14CCD11-E2F2-41FC-9411-D09C473D4C94}">
      <dgm:prSet/>
      <dgm:spPr/>
      <dgm:t>
        <a:bodyPr/>
        <a:lstStyle/>
        <a:p>
          <a:endParaRPr lang="en-US"/>
        </a:p>
      </dgm:t>
    </dgm:pt>
    <dgm:pt modelId="{48B09342-F48D-4F39-AC5A-7407F15117AE}" type="pres">
      <dgm:prSet presAssocID="{67550273-13D4-4CBC-AAAD-C0A94D2ECE3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28023B6-0ED0-42A4-9718-9D9AD9D268C3}" type="pres">
      <dgm:prSet presAssocID="{DC17778F-C3F4-4162-8180-2703DCECD364}" presName="hierRoot1" presStyleCnt="0"/>
      <dgm:spPr/>
    </dgm:pt>
    <dgm:pt modelId="{66D06BDD-C770-4B40-BBBB-31CB39757C89}" type="pres">
      <dgm:prSet presAssocID="{DC17778F-C3F4-4162-8180-2703DCECD364}" presName="composite" presStyleCnt="0"/>
      <dgm:spPr/>
    </dgm:pt>
    <dgm:pt modelId="{355EC295-2E24-4FFB-A07A-665F48A388CD}" type="pres">
      <dgm:prSet presAssocID="{DC17778F-C3F4-4162-8180-2703DCECD364}" presName="background" presStyleLbl="node0" presStyleIdx="0" presStyleCnt="4"/>
      <dgm:spPr/>
    </dgm:pt>
    <dgm:pt modelId="{BC18E57A-8172-4E28-A0D0-6921633E580E}" type="pres">
      <dgm:prSet presAssocID="{DC17778F-C3F4-4162-8180-2703DCECD364}" presName="text" presStyleLbl="fgAcc0" presStyleIdx="0" presStyleCnt="4">
        <dgm:presLayoutVars>
          <dgm:chPref val="3"/>
        </dgm:presLayoutVars>
      </dgm:prSet>
      <dgm:spPr/>
    </dgm:pt>
    <dgm:pt modelId="{CEA0C6AB-299F-4A4E-BFC6-6B93F68D973A}" type="pres">
      <dgm:prSet presAssocID="{DC17778F-C3F4-4162-8180-2703DCECD364}" presName="hierChild2" presStyleCnt="0"/>
      <dgm:spPr/>
    </dgm:pt>
    <dgm:pt modelId="{47C4B8DE-FB7C-47E7-8002-1B4CC22BABD9}" type="pres">
      <dgm:prSet presAssocID="{AF49C04C-D2D9-4754-A216-3A2999A8AF3A}" presName="hierRoot1" presStyleCnt="0"/>
      <dgm:spPr/>
    </dgm:pt>
    <dgm:pt modelId="{180DD718-1700-4C77-A01F-4A6621DED830}" type="pres">
      <dgm:prSet presAssocID="{AF49C04C-D2D9-4754-A216-3A2999A8AF3A}" presName="composite" presStyleCnt="0"/>
      <dgm:spPr/>
    </dgm:pt>
    <dgm:pt modelId="{C179C20B-4D8A-4FFB-A0AF-51E5C5301EA3}" type="pres">
      <dgm:prSet presAssocID="{AF49C04C-D2D9-4754-A216-3A2999A8AF3A}" presName="background" presStyleLbl="node0" presStyleIdx="1" presStyleCnt="4"/>
      <dgm:spPr/>
    </dgm:pt>
    <dgm:pt modelId="{5130AEB0-DC58-4936-B8C2-811670BCE86D}" type="pres">
      <dgm:prSet presAssocID="{AF49C04C-D2D9-4754-A216-3A2999A8AF3A}" presName="text" presStyleLbl="fgAcc0" presStyleIdx="1" presStyleCnt="4">
        <dgm:presLayoutVars>
          <dgm:chPref val="3"/>
        </dgm:presLayoutVars>
      </dgm:prSet>
      <dgm:spPr/>
    </dgm:pt>
    <dgm:pt modelId="{91C17F00-BAB4-44A0-B167-462E2C68C554}" type="pres">
      <dgm:prSet presAssocID="{AF49C04C-D2D9-4754-A216-3A2999A8AF3A}" presName="hierChild2" presStyleCnt="0"/>
      <dgm:spPr/>
    </dgm:pt>
    <dgm:pt modelId="{88A6D0CB-5D8B-4576-8AE5-A7D4F88B7733}" type="pres">
      <dgm:prSet presAssocID="{0E0FA68E-06E3-4D89-A24D-1A2D019A2D0C}" presName="hierRoot1" presStyleCnt="0"/>
      <dgm:spPr/>
    </dgm:pt>
    <dgm:pt modelId="{FB9F6DAF-E5C5-42C5-BC3E-59B44B23D5E4}" type="pres">
      <dgm:prSet presAssocID="{0E0FA68E-06E3-4D89-A24D-1A2D019A2D0C}" presName="composite" presStyleCnt="0"/>
      <dgm:spPr/>
    </dgm:pt>
    <dgm:pt modelId="{C1EC776B-C4B6-4E20-A1A6-34ADFA2365FF}" type="pres">
      <dgm:prSet presAssocID="{0E0FA68E-06E3-4D89-A24D-1A2D019A2D0C}" presName="background" presStyleLbl="node0" presStyleIdx="2" presStyleCnt="4"/>
      <dgm:spPr/>
    </dgm:pt>
    <dgm:pt modelId="{857EB379-4B4B-4A7C-96A5-54D692DB14A4}" type="pres">
      <dgm:prSet presAssocID="{0E0FA68E-06E3-4D89-A24D-1A2D019A2D0C}" presName="text" presStyleLbl="fgAcc0" presStyleIdx="2" presStyleCnt="4">
        <dgm:presLayoutVars>
          <dgm:chPref val="3"/>
        </dgm:presLayoutVars>
      </dgm:prSet>
      <dgm:spPr/>
    </dgm:pt>
    <dgm:pt modelId="{CBE85BB9-C45C-4579-BC5C-17B7F62A390A}" type="pres">
      <dgm:prSet presAssocID="{0E0FA68E-06E3-4D89-A24D-1A2D019A2D0C}" presName="hierChild2" presStyleCnt="0"/>
      <dgm:spPr/>
    </dgm:pt>
    <dgm:pt modelId="{2F98884A-5AAD-4076-80C5-B52C099627E9}" type="pres">
      <dgm:prSet presAssocID="{7A5A601D-B1AB-4C3D-B69C-7E565D37F680}" presName="hierRoot1" presStyleCnt="0"/>
      <dgm:spPr/>
    </dgm:pt>
    <dgm:pt modelId="{BACB1A3F-F8F8-407E-A3F3-63E4CBE36E55}" type="pres">
      <dgm:prSet presAssocID="{7A5A601D-B1AB-4C3D-B69C-7E565D37F680}" presName="composite" presStyleCnt="0"/>
      <dgm:spPr/>
    </dgm:pt>
    <dgm:pt modelId="{C952A23F-E779-4F62-993B-DBDDDA4B0BC7}" type="pres">
      <dgm:prSet presAssocID="{7A5A601D-B1AB-4C3D-B69C-7E565D37F680}" presName="background" presStyleLbl="node0" presStyleIdx="3" presStyleCnt="4"/>
      <dgm:spPr/>
    </dgm:pt>
    <dgm:pt modelId="{C83EF7DD-4ABE-476D-A617-3F8B3BD5CC39}" type="pres">
      <dgm:prSet presAssocID="{7A5A601D-B1AB-4C3D-B69C-7E565D37F680}" presName="text" presStyleLbl="fgAcc0" presStyleIdx="3" presStyleCnt="4">
        <dgm:presLayoutVars>
          <dgm:chPref val="3"/>
        </dgm:presLayoutVars>
      </dgm:prSet>
      <dgm:spPr/>
    </dgm:pt>
    <dgm:pt modelId="{1BA208C6-054D-4522-BC3F-42157DA7AF90}" type="pres">
      <dgm:prSet presAssocID="{7A5A601D-B1AB-4C3D-B69C-7E565D37F680}" presName="hierChild2" presStyleCnt="0"/>
      <dgm:spPr/>
    </dgm:pt>
  </dgm:ptLst>
  <dgm:cxnLst>
    <dgm:cxn modelId="{A29BBE01-534A-405C-AC2C-73DDD11B9259}" type="presOf" srcId="{0E0FA68E-06E3-4D89-A24D-1A2D019A2D0C}" destId="{857EB379-4B4B-4A7C-96A5-54D692DB14A4}" srcOrd="0" destOrd="0" presId="urn:microsoft.com/office/officeart/2005/8/layout/hierarchy1"/>
    <dgm:cxn modelId="{A14CCD11-E2F2-41FC-9411-D09C473D4C94}" srcId="{67550273-13D4-4CBC-AAAD-C0A94D2ECE35}" destId="{7A5A601D-B1AB-4C3D-B69C-7E565D37F680}" srcOrd="3" destOrd="0" parTransId="{B4C628DA-39C7-49EE-B4FE-2A7ACCD42DC4}" sibTransId="{657BB8FB-82E0-43AD-840E-4AA6F36ACEB2}"/>
    <dgm:cxn modelId="{F0E0FA45-ABC6-4656-9277-83C753BCA18E}" srcId="{67550273-13D4-4CBC-AAAD-C0A94D2ECE35}" destId="{0E0FA68E-06E3-4D89-A24D-1A2D019A2D0C}" srcOrd="2" destOrd="0" parTransId="{5C343996-BDC4-48B1-A4A0-959B94DC7B73}" sibTransId="{423D4568-124B-454A-895A-74289E0B63C2}"/>
    <dgm:cxn modelId="{F7C9A773-80CF-45A3-A751-15C8A3ECBFEE}" type="presOf" srcId="{7A5A601D-B1AB-4C3D-B69C-7E565D37F680}" destId="{C83EF7DD-4ABE-476D-A617-3F8B3BD5CC39}" srcOrd="0" destOrd="0" presId="urn:microsoft.com/office/officeart/2005/8/layout/hierarchy1"/>
    <dgm:cxn modelId="{A1BAFA58-195E-4533-A229-B96345F6B0BF}" type="presOf" srcId="{67550273-13D4-4CBC-AAAD-C0A94D2ECE35}" destId="{48B09342-F48D-4F39-AC5A-7407F15117AE}" srcOrd="0" destOrd="0" presId="urn:microsoft.com/office/officeart/2005/8/layout/hierarchy1"/>
    <dgm:cxn modelId="{1902C6C3-F8F7-4CF5-9E26-D80619D6CADF}" srcId="{67550273-13D4-4CBC-AAAD-C0A94D2ECE35}" destId="{AF49C04C-D2D9-4754-A216-3A2999A8AF3A}" srcOrd="1" destOrd="0" parTransId="{E915E5F9-05B5-427C-A27F-550307477F2C}" sibTransId="{B2042B39-3FD6-4FC0-A58A-0D74C3E80B75}"/>
    <dgm:cxn modelId="{A442C3D1-5730-4388-A785-0A411F8C2CCA}" type="presOf" srcId="{AF49C04C-D2D9-4754-A216-3A2999A8AF3A}" destId="{5130AEB0-DC58-4936-B8C2-811670BCE86D}" srcOrd="0" destOrd="0" presId="urn:microsoft.com/office/officeart/2005/8/layout/hierarchy1"/>
    <dgm:cxn modelId="{2F3341EC-A15F-4854-8DF8-9ADD64BA304D}" srcId="{67550273-13D4-4CBC-AAAD-C0A94D2ECE35}" destId="{DC17778F-C3F4-4162-8180-2703DCECD364}" srcOrd="0" destOrd="0" parTransId="{63B22E75-8CFC-4EDB-96D2-31C7EFCF41B4}" sibTransId="{545414DC-F039-4793-AB2B-86B75C49E661}"/>
    <dgm:cxn modelId="{79C0E5FA-F38F-42C5-903F-8583D0DFF2D0}" type="presOf" srcId="{DC17778F-C3F4-4162-8180-2703DCECD364}" destId="{BC18E57A-8172-4E28-A0D0-6921633E580E}" srcOrd="0" destOrd="0" presId="urn:microsoft.com/office/officeart/2005/8/layout/hierarchy1"/>
    <dgm:cxn modelId="{BB42FB72-95A2-417B-8377-0ADFAFF13414}" type="presParOf" srcId="{48B09342-F48D-4F39-AC5A-7407F15117AE}" destId="{728023B6-0ED0-42A4-9718-9D9AD9D268C3}" srcOrd="0" destOrd="0" presId="urn:microsoft.com/office/officeart/2005/8/layout/hierarchy1"/>
    <dgm:cxn modelId="{488B651C-C7BF-4376-9675-666638FC2FCC}" type="presParOf" srcId="{728023B6-0ED0-42A4-9718-9D9AD9D268C3}" destId="{66D06BDD-C770-4B40-BBBB-31CB39757C89}" srcOrd="0" destOrd="0" presId="urn:microsoft.com/office/officeart/2005/8/layout/hierarchy1"/>
    <dgm:cxn modelId="{2D516D66-DE9E-4CD9-A12C-E716B6070BD3}" type="presParOf" srcId="{66D06BDD-C770-4B40-BBBB-31CB39757C89}" destId="{355EC295-2E24-4FFB-A07A-665F48A388CD}" srcOrd="0" destOrd="0" presId="urn:microsoft.com/office/officeart/2005/8/layout/hierarchy1"/>
    <dgm:cxn modelId="{8EA5192D-AEB8-4E32-AE42-6A824936E22D}" type="presParOf" srcId="{66D06BDD-C770-4B40-BBBB-31CB39757C89}" destId="{BC18E57A-8172-4E28-A0D0-6921633E580E}" srcOrd="1" destOrd="0" presId="urn:microsoft.com/office/officeart/2005/8/layout/hierarchy1"/>
    <dgm:cxn modelId="{42696310-1198-43FF-8D3A-AEA63B6C2D23}" type="presParOf" srcId="{728023B6-0ED0-42A4-9718-9D9AD9D268C3}" destId="{CEA0C6AB-299F-4A4E-BFC6-6B93F68D973A}" srcOrd="1" destOrd="0" presId="urn:microsoft.com/office/officeart/2005/8/layout/hierarchy1"/>
    <dgm:cxn modelId="{2558DDBC-08DC-4155-BA44-60635876119D}" type="presParOf" srcId="{48B09342-F48D-4F39-AC5A-7407F15117AE}" destId="{47C4B8DE-FB7C-47E7-8002-1B4CC22BABD9}" srcOrd="1" destOrd="0" presId="urn:microsoft.com/office/officeart/2005/8/layout/hierarchy1"/>
    <dgm:cxn modelId="{666757EE-DCFD-4620-BD50-2ABECCF41A87}" type="presParOf" srcId="{47C4B8DE-FB7C-47E7-8002-1B4CC22BABD9}" destId="{180DD718-1700-4C77-A01F-4A6621DED830}" srcOrd="0" destOrd="0" presId="urn:microsoft.com/office/officeart/2005/8/layout/hierarchy1"/>
    <dgm:cxn modelId="{836B2ACF-A548-4629-998A-36D2836732FD}" type="presParOf" srcId="{180DD718-1700-4C77-A01F-4A6621DED830}" destId="{C179C20B-4D8A-4FFB-A0AF-51E5C5301EA3}" srcOrd="0" destOrd="0" presId="urn:microsoft.com/office/officeart/2005/8/layout/hierarchy1"/>
    <dgm:cxn modelId="{670EBD2E-C178-4ED2-A765-968A4CF6F528}" type="presParOf" srcId="{180DD718-1700-4C77-A01F-4A6621DED830}" destId="{5130AEB0-DC58-4936-B8C2-811670BCE86D}" srcOrd="1" destOrd="0" presId="urn:microsoft.com/office/officeart/2005/8/layout/hierarchy1"/>
    <dgm:cxn modelId="{F1EA047A-301C-4386-8C2D-19CACB022D93}" type="presParOf" srcId="{47C4B8DE-FB7C-47E7-8002-1B4CC22BABD9}" destId="{91C17F00-BAB4-44A0-B167-462E2C68C554}" srcOrd="1" destOrd="0" presId="urn:microsoft.com/office/officeart/2005/8/layout/hierarchy1"/>
    <dgm:cxn modelId="{8B30B909-AE82-4D55-8EFF-6CBF42262008}" type="presParOf" srcId="{48B09342-F48D-4F39-AC5A-7407F15117AE}" destId="{88A6D0CB-5D8B-4576-8AE5-A7D4F88B7733}" srcOrd="2" destOrd="0" presId="urn:microsoft.com/office/officeart/2005/8/layout/hierarchy1"/>
    <dgm:cxn modelId="{12EC72A7-B464-47AB-8E3E-D4A904A3932B}" type="presParOf" srcId="{88A6D0CB-5D8B-4576-8AE5-A7D4F88B7733}" destId="{FB9F6DAF-E5C5-42C5-BC3E-59B44B23D5E4}" srcOrd="0" destOrd="0" presId="urn:microsoft.com/office/officeart/2005/8/layout/hierarchy1"/>
    <dgm:cxn modelId="{1BD34C2F-7C7A-4601-BA81-48C73B24E1EC}" type="presParOf" srcId="{FB9F6DAF-E5C5-42C5-BC3E-59B44B23D5E4}" destId="{C1EC776B-C4B6-4E20-A1A6-34ADFA2365FF}" srcOrd="0" destOrd="0" presId="urn:microsoft.com/office/officeart/2005/8/layout/hierarchy1"/>
    <dgm:cxn modelId="{40648E03-4DE2-450C-84F9-9AA08A310CF9}" type="presParOf" srcId="{FB9F6DAF-E5C5-42C5-BC3E-59B44B23D5E4}" destId="{857EB379-4B4B-4A7C-96A5-54D692DB14A4}" srcOrd="1" destOrd="0" presId="urn:microsoft.com/office/officeart/2005/8/layout/hierarchy1"/>
    <dgm:cxn modelId="{5D3DA40B-2B47-4E43-863F-585C1137CC3D}" type="presParOf" srcId="{88A6D0CB-5D8B-4576-8AE5-A7D4F88B7733}" destId="{CBE85BB9-C45C-4579-BC5C-17B7F62A390A}" srcOrd="1" destOrd="0" presId="urn:microsoft.com/office/officeart/2005/8/layout/hierarchy1"/>
    <dgm:cxn modelId="{23AC9892-4F07-4034-84CA-2CFFA4F0A36D}" type="presParOf" srcId="{48B09342-F48D-4F39-AC5A-7407F15117AE}" destId="{2F98884A-5AAD-4076-80C5-B52C099627E9}" srcOrd="3" destOrd="0" presId="urn:microsoft.com/office/officeart/2005/8/layout/hierarchy1"/>
    <dgm:cxn modelId="{D86FEC02-5A2A-46CF-8B0E-D4578D984EBF}" type="presParOf" srcId="{2F98884A-5AAD-4076-80C5-B52C099627E9}" destId="{BACB1A3F-F8F8-407E-A3F3-63E4CBE36E55}" srcOrd="0" destOrd="0" presId="urn:microsoft.com/office/officeart/2005/8/layout/hierarchy1"/>
    <dgm:cxn modelId="{F940571D-8777-471F-BA95-BB14DCFE50E8}" type="presParOf" srcId="{BACB1A3F-F8F8-407E-A3F3-63E4CBE36E55}" destId="{C952A23F-E779-4F62-993B-DBDDDA4B0BC7}" srcOrd="0" destOrd="0" presId="urn:microsoft.com/office/officeart/2005/8/layout/hierarchy1"/>
    <dgm:cxn modelId="{2769114C-974E-4B27-AD83-77681F839665}" type="presParOf" srcId="{BACB1A3F-F8F8-407E-A3F3-63E4CBE36E55}" destId="{C83EF7DD-4ABE-476D-A617-3F8B3BD5CC39}" srcOrd="1" destOrd="0" presId="urn:microsoft.com/office/officeart/2005/8/layout/hierarchy1"/>
    <dgm:cxn modelId="{1362DB02-8E2C-4F8B-918B-63A91A926168}" type="presParOf" srcId="{2F98884A-5AAD-4076-80C5-B52C099627E9}" destId="{1BA208C6-054D-4522-BC3F-42157DA7A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928023-072F-4297-879C-E36572CD332D}">
      <dsp:nvSpPr>
        <dsp:cNvPr id="0" name=""/>
        <dsp:cNvSpPr/>
      </dsp:nvSpPr>
      <dsp:spPr>
        <a:xfrm>
          <a:off x="0" y="623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75A24-8C4F-40B4-8F00-9BB92CF67D9B}">
      <dsp:nvSpPr>
        <dsp:cNvPr id="0" name=""/>
        <dsp:cNvSpPr/>
      </dsp:nvSpPr>
      <dsp:spPr>
        <a:xfrm>
          <a:off x="0" y="623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Aufbau der Anlage</a:t>
          </a:r>
          <a:endParaRPr lang="en-US" sz="3300" kern="1200"/>
        </a:p>
      </dsp:txBody>
      <dsp:txXfrm>
        <a:off x="0" y="623"/>
        <a:ext cx="6492875" cy="729164"/>
      </dsp:txXfrm>
    </dsp:sp>
    <dsp:sp modelId="{5A80305A-A810-452F-98AC-7CEF73B9DB5E}">
      <dsp:nvSpPr>
        <dsp:cNvPr id="0" name=""/>
        <dsp:cNvSpPr/>
      </dsp:nvSpPr>
      <dsp:spPr>
        <a:xfrm>
          <a:off x="0" y="729788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136C6D-008F-4E36-8C24-CD9E34661A2E}">
      <dsp:nvSpPr>
        <dsp:cNvPr id="0" name=""/>
        <dsp:cNvSpPr/>
      </dsp:nvSpPr>
      <dsp:spPr>
        <a:xfrm>
          <a:off x="0" y="729788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Telegramme und Image</a:t>
          </a:r>
          <a:endParaRPr lang="en-US" sz="3300" kern="1200"/>
        </a:p>
      </dsp:txBody>
      <dsp:txXfrm>
        <a:off x="0" y="729788"/>
        <a:ext cx="6492875" cy="729164"/>
      </dsp:txXfrm>
    </dsp:sp>
    <dsp:sp modelId="{F475C09C-4B93-4EB7-A5DA-0C39C0941E1A}">
      <dsp:nvSpPr>
        <dsp:cNvPr id="0" name=""/>
        <dsp:cNvSpPr/>
      </dsp:nvSpPr>
      <dsp:spPr>
        <a:xfrm>
          <a:off x="0" y="1458952"/>
          <a:ext cx="649287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EA0E0B-6A82-4C99-9A1E-56DAA42E93BD}">
      <dsp:nvSpPr>
        <dsp:cNvPr id="0" name=""/>
        <dsp:cNvSpPr/>
      </dsp:nvSpPr>
      <dsp:spPr>
        <a:xfrm>
          <a:off x="0" y="145895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Visualisierung</a:t>
          </a:r>
          <a:endParaRPr lang="en-US" sz="3300" kern="1200"/>
        </a:p>
      </dsp:txBody>
      <dsp:txXfrm>
        <a:off x="0" y="1458952"/>
        <a:ext cx="6492875" cy="729164"/>
      </dsp:txXfrm>
    </dsp:sp>
    <dsp:sp modelId="{5B703EF1-B5DB-4772-A524-E06418A7C90C}">
      <dsp:nvSpPr>
        <dsp:cNvPr id="0" name=""/>
        <dsp:cNvSpPr/>
      </dsp:nvSpPr>
      <dsp:spPr>
        <a:xfrm>
          <a:off x="0" y="2188117"/>
          <a:ext cx="6492875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F8BC61-4BCF-4C8D-826C-B7922E32BA3C}">
      <dsp:nvSpPr>
        <dsp:cNvPr id="0" name=""/>
        <dsp:cNvSpPr/>
      </dsp:nvSpPr>
      <dsp:spPr>
        <a:xfrm>
          <a:off x="0" y="218811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 dirty="0"/>
            <a:t>Move Modul</a:t>
          </a:r>
          <a:endParaRPr lang="en-US" sz="3300" kern="1200" dirty="0"/>
        </a:p>
      </dsp:txBody>
      <dsp:txXfrm>
        <a:off x="0" y="2188117"/>
        <a:ext cx="6492875" cy="729164"/>
      </dsp:txXfrm>
    </dsp:sp>
    <dsp:sp modelId="{E35F2974-5F7A-427F-929B-E8CD735BA162}">
      <dsp:nvSpPr>
        <dsp:cNvPr id="0" name=""/>
        <dsp:cNvSpPr/>
      </dsp:nvSpPr>
      <dsp:spPr>
        <a:xfrm>
          <a:off x="0" y="2917282"/>
          <a:ext cx="6492875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82E03E-AD8D-4350-BA1A-1FD16EDA6B0C}">
      <dsp:nvSpPr>
        <dsp:cNvPr id="0" name=""/>
        <dsp:cNvSpPr/>
      </dsp:nvSpPr>
      <dsp:spPr>
        <a:xfrm>
          <a:off x="0" y="291728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Test</a:t>
          </a:r>
          <a:endParaRPr lang="en-US" sz="3300" kern="1200"/>
        </a:p>
      </dsp:txBody>
      <dsp:txXfrm>
        <a:off x="0" y="2917282"/>
        <a:ext cx="6492875" cy="729164"/>
      </dsp:txXfrm>
    </dsp:sp>
    <dsp:sp modelId="{BCD4A890-D6E7-4390-A534-80C3A6C68784}">
      <dsp:nvSpPr>
        <dsp:cNvPr id="0" name=""/>
        <dsp:cNvSpPr/>
      </dsp:nvSpPr>
      <dsp:spPr>
        <a:xfrm>
          <a:off x="0" y="3646447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88A7D-90E4-4E2A-975F-061AFB8E09A0}">
      <dsp:nvSpPr>
        <dsp:cNvPr id="0" name=""/>
        <dsp:cNvSpPr/>
      </dsp:nvSpPr>
      <dsp:spPr>
        <a:xfrm>
          <a:off x="0" y="364644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Fazit </a:t>
          </a:r>
          <a:endParaRPr lang="en-US" sz="3300" kern="1200"/>
        </a:p>
      </dsp:txBody>
      <dsp:txXfrm>
        <a:off x="0" y="3646447"/>
        <a:ext cx="6492875" cy="729164"/>
      </dsp:txXfrm>
    </dsp:sp>
    <dsp:sp modelId="{A3FEB88E-9277-4F95-83D4-11B6843A134A}">
      <dsp:nvSpPr>
        <dsp:cNvPr id="0" name=""/>
        <dsp:cNvSpPr/>
      </dsp:nvSpPr>
      <dsp:spPr>
        <a:xfrm>
          <a:off x="0" y="4375611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BFFCCE-3C11-4737-B52B-913939E90CC5}">
      <dsp:nvSpPr>
        <dsp:cNvPr id="0" name=""/>
        <dsp:cNvSpPr/>
      </dsp:nvSpPr>
      <dsp:spPr>
        <a:xfrm>
          <a:off x="0" y="4375611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/>
            <a:t>Zukunft</a:t>
          </a:r>
          <a:endParaRPr lang="en-US" sz="3300" kern="1200"/>
        </a:p>
      </dsp:txBody>
      <dsp:txXfrm>
        <a:off x="0" y="4375611"/>
        <a:ext cx="6492875" cy="7291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EC295-2E24-4FFB-A07A-665F48A388CD}">
      <dsp:nvSpPr>
        <dsp:cNvPr id="0" name=""/>
        <dsp:cNvSpPr/>
      </dsp:nvSpPr>
      <dsp:spPr>
        <a:xfrm>
          <a:off x="3080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18E57A-8172-4E28-A0D0-6921633E580E}">
      <dsp:nvSpPr>
        <dsp:cNvPr id="0" name=""/>
        <dsp:cNvSpPr/>
      </dsp:nvSpPr>
      <dsp:spPr>
        <a:xfrm>
          <a:off x="247486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Gut auf die Ausbildung angepasst</a:t>
          </a:r>
          <a:endParaRPr lang="en-US" sz="2100" kern="1200"/>
        </a:p>
      </dsp:txBody>
      <dsp:txXfrm>
        <a:off x="288396" y="1499100"/>
        <a:ext cx="2117829" cy="1314957"/>
      </dsp:txXfrm>
    </dsp:sp>
    <dsp:sp modelId="{C179C20B-4D8A-4FFB-A0AF-51E5C5301EA3}">
      <dsp:nvSpPr>
        <dsp:cNvPr id="0" name=""/>
        <dsp:cNvSpPr/>
      </dsp:nvSpPr>
      <dsp:spPr>
        <a:xfrm>
          <a:off x="2691541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30AEB0-DC58-4936-B8C2-811670BCE86D}">
      <dsp:nvSpPr>
        <dsp:cNvPr id="0" name=""/>
        <dsp:cNvSpPr/>
      </dsp:nvSpPr>
      <dsp:spPr>
        <a:xfrm>
          <a:off x="2935947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100" kern="1200"/>
            <a:t>Grosse Selbständigkeit</a:t>
          </a:r>
          <a:endParaRPr lang="en-US" sz="2100" kern="1200"/>
        </a:p>
      </dsp:txBody>
      <dsp:txXfrm>
        <a:off x="2976857" y="1499100"/>
        <a:ext cx="2117829" cy="1314957"/>
      </dsp:txXfrm>
    </dsp:sp>
    <dsp:sp modelId="{C1EC776B-C4B6-4E20-A1A6-34ADFA2365FF}">
      <dsp:nvSpPr>
        <dsp:cNvPr id="0" name=""/>
        <dsp:cNvSpPr/>
      </dsp:nvSpPr>
      <dsp:spPr>
        <a:xfrm>
          <a:off x="5380002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7EB379-4B4B-4A7C-96A5-54D692DB14A4}">
      <dsp:nvSpPr>
        <dsp:cNvPr id="0" name=""/>
        <dsp:cNvSpPr/>
      </dsp:nvSpPr>
      <dsp:spPr>
        <a:xfrm>
          <a:off x="5624408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SIS Dog hat viel Zeit in Anspruch genommen</a:t>
          </a:r>
          <a:endParaRPr lang="en-US" sz="2100" kern="1200"/>
        </a:p>
      </dsp:txBody>
      <dsp:txXfrm>
        <a:off x="5665318" y="1499100"/>
        <a:ext cx="2117829" cy="1314957"/>
      </dsp:txXfrm>
    </dsp:sp>
    <dsp:sp modelId="{C952A23F-E779-4F62-993B-DBDDDA4B0BC7}">
      <dsp:nvSpPr>
        <dsp:cNvPr id="0" name=""/>
        <dsp:cNvSpPr/>
      </dsp:nvSpPr>
      <dsp:spPr>
        <a:xfrm>
          <a:off x="8068463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3EF7DD-4ABE-476D-A617-3F8B3BD5CC39}">
      <dsp:nvSpPr>
        <dsp:cNvPr id="0" name=""/>
        <dsp:cNvSpPr/>
      </dsp:nvSpPr>
      <dsp:spPr>
        <a:xfrm>
          <a:off x="8312869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Anspruchsvollster Teil: Checkliste schreiben</a:t>
          </a:r>
          <a:endParaRPr lang="en-US" sz="2100" kern="1200"/>
        </a:p>
      </dsp:txBody>
      <dsp:txXfrm>
        <a:off x="8353779" y="1499100"/>
        <a:ext cx="2117829" cy="1314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8839E-9ABE-44B1-8812-D97566EBEF5A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9FFA51-D9F0-4FBB-945B-2AE5EA1D795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8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CBCFFD-BB00-CC40-8AFD-EB9D88805DF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361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FS erkläre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56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</a:t>
            </a:r>
            <a:r>
              <a:rPr lang="de-DE" baseline="0" dirty="0"/>
              <a:t> der IPA erstell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75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927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075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08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 Ver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81075"/>
            <a:ext cx="12192000" cy="5876925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390" y="4394120"/>
            <a:ext cx="5639610" cy="15552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3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6390" y="5949320"/>
            <a:ext cx="2831783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: Calibri / 18pt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288173" y="5949320"/>
            <a:ext cx="2807827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e: 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33278"/>
            <a:ext cx="3860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sz="800" b="0" i="0" smtClean="0">
                <a:solidFill>
                  <a:srgbClr val="A8ABAE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dirty="0"/>
              <a:t>Page: </a:t>
            </a:r>
            <a:fld id="{880C08D8-3920-4F40-B183-C9516F93571F}" type="slidenum">
              <a:rPr/>
              <a:pPr algn="r"/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2220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57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03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01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1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292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1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53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53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BD09B-114E-41DF-9857-BBB927787DA6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676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microsoft.com/office/2007/relationships/media" Target="../media/media2.mp4"/><Relationship Id="rId7" Type="http://schemas.openxmlformats.org/officeDocument/2006/relationships/image" Target="../media/image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7.png"/><Relationship Id="rId4" Type="http://schemas.openxmlformats.org/officeDocument/2006/relationships/video" Target="../media/media2.mp4"/><Relationship Id="rId9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emf"/><Relationship Id="rId11" Type="http://schemas.openxmlformats.org/officeDocument/2006/relationships/image" Target="../media/image23.emf"/><Relationship Id="rId5" Type="http://schemas.openxmlformats.org/officeDocument/2006/relationships/image" Target="../media/image17.emf"/><Relationship Id="rId10" Type="http://schemas.openxmlformats.org/officeDocument/2006/relationships/image" Target="../media/image22.emf"/><Relationship Id="rId4" Type="http://schemas.openxmlformats.org/officeDocument/2006/relationships/image" Target="../media/image16.emf"/><Relationship Id="rId9" Type="http://schemas.openxmlformats.org/officeDocument/2006/relationships/image" Target="../media/image21.emf"/><Relationship Id="rId1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/>
          </p:cNvPicPr>
          <p:nvPr>
            <p:ph type="pic" sz="quarter" idx="1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 bwMode="auto"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/>
              <a:t>Kippstatio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/>
              <a:t>Luca Schäfli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/>
              <a:t>03.05.2019</a:t>
            </a:r>
            <a:endParaRPr lang="en-US" dirty="0"/>
          </a:p>
        </p:txBody>
      </p:sp>
      <p:sp>
        <p:nvSpPr>
          <p:cNvPr id="9" name="BainBulletsConfiguration" hidden="1"/>
          <p:cNvSpPr txBox="1"/>
          <p:nvPr/>
        </p:nvSpPr>
        <p:spPr>
          <a:xfrm>
            <a:off x="1536701" y="12701"/>
            <a:ext cx="65" cy="2045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609529"/>
            <a:endParaRPr lang="en-US" sz="133" dirty="0" err="1">
              <a:solidFill>
                <a:srgbClr val="FFFFFF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148" y="308249"/>
            <a:ext cx="2070234" cy="67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46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wn Arrow 7">
            <a:extLst>
              <a:ext uri="{FF2B5EF4-FFF2-40B4-BE49-F238E27FC236}">
                <a16:creationId xmlns:a16="http://schemas.microsoft.com/office/drawing/2014/main" id="{73DE2CFE-42F2-48F0-8706-5264E012B1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288521" y="381403"/>
            <a:ext cx="2200313" cy="3342508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6952" y="1204108"/>
            <a:ext cx="2669406" cy="17811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legramme</a:t>
            </a:r>
            <a:endParaRPr lang="en-US" sz="32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6951" y="3355130"/>
            <a:ext cx="2669407" cy="2669152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600"/>
              </a:spcBef>
            </a:pPr>
            <a:r>
              <a:rPr lang="en-US" sz="1600" dirty="0"/>
              <a:t>CTM+KS (MFR </a:t>
            </a:r>
            <a:r>
              <a:rPr lang="en-US" sz="1600" dirty="0" err="1"/>
              <a:t>zu</a:t>
            </a:r>
            <a:r>
              <a:rPr lang="en-US" sz="1600" dirty="0"/>
              <a:t> SPS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/>
              <a:t>-&gt; Steuertelegramm</a:t>
            </a:r>
          </a:p>
          <a:p>
            <a:pPr marL="0" indent="0">
              <a:spcBef>
                <a:spcPts val="600"/>
              </a:spcBef>
              <a:buNone/>
            </a:pPr>
            <a:endParaRPr lang="en-US" sz="1600" dirty="0"/>
          </a:p>
          <a:p>
            <a:pPr>
              <a:spcBef>
                <a:spcPts val="600"/>
              </a:spcBef>
            </a:pPr>
            <a:r>
              <a:rPr lang="en-US" sz="1600" dirty="0"/>
              <a:t>CTS+KR (SPS </a:t>
            </a:r>
            <a:r>
              <a:rPr lang="en-US" sz="1600" dirty="0" err="1"/>
              <a:t>zu</a:t>
            </a:r>
            <a:r>
              <a:rPr lang="en-US" sz="1600" dirty="0"/>
              <a:t> MFR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/>
              <a:t>-&gt;</a:t>
            </a:r>
            <a:r>
              <a:rPr lang="de-CH" sz="1600" dirty="0" err="1"/>
              <a:t>Antwortentelegramm</a:t>
            </a:r>
            <a:endParaRPr lang="de-CH" sz="1600" dirty="0"/>
          </a:p>
          <a:p>
            <a:pPr marL="0" indent="0">
              <a:spcBef>
                <a:spcPts val="600"/>
              </a:spcBef>
              <a:buNone/>
            </a:pPr>
            <a:endParaRPr lang="en-US" sz="1600" dirty="0"/>
          </a:p>
          <a:p>
            <a:pPr>
              <a:spcBef>
                <a:spcPts val="600"/>
              </a:spcBef>
            </a:pPr>
            <a:r>
              <a:rPr lang="en-US" sz="1600" dirty="0"/>
              <a:t>CSS+OS (SPS </a:t>
            </a:r>
            <a:r>
              <a:rPr lang="en-US" sz="1600" dirty="0" err="1"/>
              <a:t>zu</a:t>
            </a:r>
            <a:r>
              <a:rPr lang="en-US" sz="1600" dirty="0"/>
              <a:t> MFR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CH" sz="1600" dirty="0"/>
              <a:t>-&gt; </a:t>
            </a:r>
            <a:r>
              <a:rPr lang="de-CH" sz="1600" dirty="0" err="1"/>
              <a:t>Zustandtelegramm</a:t>
            </a:r>
            <a:endParaRPr lang="en-US" sz="1600" dirty="0"/>
          </a:p>
          <a:p>
            <a:endParaRPr lang="en-US" sz="1600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10E3171-4430-4A78-92E3-CB0F08BEAD4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62102" y="1425810"/>
            <a:ext cx="6903723" cy="38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0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Standard Telegramme SIS</a:t>
            </a:r>
          </a:p>
          <a:p>
            <a:r>
              <a:rPr lang="de-CH" dirty="0"/>
              <a:t>Telegramme SFS</a:t>
            </a:r>
          </a:p>
          <a:p>
            <a:r>
              <a:rPr lang="de-CH" dirty="0"/>
              <a:t>Aufbau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Hea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Inhal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851644" y="1856047"/>
          <a:ext cx="10515599" cy="25555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668235366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218698795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4214610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3759257356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25525272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ldnam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enty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Wer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eschreibung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150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tok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protokol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36543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22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M-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065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Count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zähl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90210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ommErr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??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hler bei der Telegrammkommunik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5337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Lengh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2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länge - projektspezifis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33133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FA11.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99643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Receiv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mpfäng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7695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qu_No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33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ufnummer des Telegramm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1749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 des Telegramms (Anforderung oder Bestätigung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5074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UB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ame des Telegrammsender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9957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estination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Ziel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1276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SS+O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802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Block Cou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zahl Datenblöc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67074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Operation Block </a:t>
                      </a:r>
                      <a:r>
                        <a:rPr lang="de-CH" sz="1100" dirty="0" err="1">
                          <a:effectLst/>
                        </a:rPr>
                        <a:t>Lengh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3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Datenblocklänge - projektspezifisch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58772405"/>
                  </a:ext>
                </a:extLst>
              </a:tr>
            </a:tbl>
          </a:graphicData>
        </a:graphic>
      </p:graphicFrame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422606"/>
              </p:ext>
            </p:extLst>
          </p:nvPr>
        </p:nvGraphicFramePr>
        <p:xfrm>
          <a:off x="838201" y="1854361"/>
          <a:ext cx="10515599" cy="42061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1498817725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363420702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2724261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1917000251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17281081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_St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6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U20.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ixer We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763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_PLC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FA11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SPS z.B. PFA1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5029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1001011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Meldepunkt bzw. Platz z.B. 11 001 0110 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75548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20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0066018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ling Unit (ID ist 8-stellig, 6-stellige werden mit führenden Nullen aufgefüllt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2611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TypeSI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LR = PLC 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GSR = Einschalt-Gruppen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SR = Positions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 = Position belegt / nicht belegt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22678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_M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1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Operation Mode Source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 = Automatik gestartet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1 = Gestoppt / Handbetrieb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9 = GSR falsch ausgelös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9605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 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Meldepunkt frei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Meldepunkt beleg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0823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rrorC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123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Werte aus Fehlerliste zur Informationsanzei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47580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 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8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Handling Unit 2. Halbpalette (ID ist 8-stellig)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(gespiegelt von DS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8057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7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 Fel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0530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nd_Of_Messa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**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nde Kennzeiche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975290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fbau eines Telegrammes (CSS+OS)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795612" y="6075362"/>
            <a:ext cx="11237259" cy="7826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I220033??000200PFA11.MFS01.0032AYSUB_CTMFS_CTCSS+OS000001000136</a:t>
            </a:r>
          </a:p>
          <a:p>
            <a:pPr marL="0" indent="0">
              <a:buNone/>
            </a:pPr>
            <a:r>
              <a:rPr lang="en-US" sz="2000" dirty="0"/>
              <a:t>NU20..PFA11.11001011000100000000000000660181POR.0.....................................................................................** 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3A5D900E-02E5-4CFC-9D1F-C8E005DA1B2D}"/>
              </a:ext>
            </a:extLst>
          </p:cNvPr>
          <p:cNvSpPr txBox="1">
            <a:spLocks/>
          </p:cNvSpPr>
          <p:nvPr/>
        </p:nvSpPr>
        <p:spPr>
          <a:xfrm>
            <a:off x="838200" y="4460849"/>
            <a:ext cx="11237259" cy="7826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I220033??000200PFA11.MFS01.0032AYSUB_CTMFS_CTCSS+OS000001000136</a:t>
            </a:r>
          </a:p>
          <a:p>
            <a:pPr marL="0" indent="0">
              <a:buNone/>
            </a:pPr>
            <a:r>
              <a:rPr lang="en-US" sz="2000" dirty="0"/>
              <a:t>NU20..PFA11.11001011000100000000000000660181POR.0.....................................................................................** </a:t>
            </a:r>
          </a:p>
        </p:txBody>
      </p:sp>
    </p:spTree>
    <p:extLst>
      <p:ext uri="{BB962C8B-B14F-4D97-AF65-F5344CB8AC3E}">
        <p14:creationId xmlns:p14="http://schemas.microsoft.com/office/powerpoint/2010/main" val="40231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8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14AA7-F028-4A0D-8698-61AEC754D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159834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59933" y="995318"/>
            <a:ext cx="9872134" cy="1193968"/>
          </a:xfrm>
          <a:solidFill>
            <a:srgbClr val="FFFFFF"/>
          </a:solidFill>
          <a:ln w="38100">
            <a:solidFill>
              <a:srgbClr val="7F7F7F"/>
            </a:solidFill>
            <a:miter lim="800000"/>
          </a:ln>
        </p:spPr>
        <p:txBody>
          <a:bodyPr>
            <a:normAutofit/>
          </a:bodyPr>
          <a:lstStyle/>
          <a:p>
            <a:pPr algn="ctr"/>
            <a:r>
              <a:rPr lang="de-CH" sz="3600">
                <a:solidFill>
                  <a:srgbClr val="3F3F3F"/>
                </a:solidFill>
              </a:rPr>
              <a:t>CTM+KS / CTS+KR Telegramm</a:t>
            </a:r>
            <a:endParaRPr lang="en-US" sz="3600">
              <a:solidFill>
                <a:srgbClr val="3F3F3F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76915" y="2888250"/>
            <a:ext cx="4364589" cy="2959777"/>
          </a:xfrm>
        </p:spPr>
        <p:txBody>
          <a:bodyPr anchor="t">
            <a:normAutofit/>
          </a:bodyPr>
          <a:lstStyle/>
          <a:p>
            <a:r>
              <a:rPr lang="de-CH" sz="2000" dirty="0"/>
              <a:t>Steuer-Telegramm sendet Auftrag (KS)</a:t>
            </a:r>
          </a:p>
          <a:p>
            <a:r>
              <a:rPr lang="de-CH" sz="2000" dirty="0"/>
              <a:t>Antworten-Telegramm gibt Statusrückmeldungen (KR)</a:t>
            </a:r>
          </a:p>
          <a:p>
            <a:r>
              <a:rPr lang="de-CH" sz="2000" dirty="0"/>
              <a:t>Beide Telegramme sind gleich aufgebaut</a:t>
            </a:r>
          </a:p>
          <a:p>
            <a:r>
              <a:rPr lang="de-CH" sz="2000" dirty="0"/>
              <a:t>Die Telegramme schreiben direkt auf das Image der Kippstation</a:t>
            </a:r>
            <a:endParaRPr lang="en-US" sz="20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206FDC-2777-4D7F-AF9C-73413DA664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2888250"/>
            <a:ext cx="0" cy="2769135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17731" y="2888250"/>
            <a:ext cx="4292594" cy="2959778"/>
          </a:xfrm>
        </p:spPr>
        <p:txBody>
          <a:bodyPr anchor="t">
            <a:normAutofit/>
          </a:bodyPr>
          <a:lstStyle/>
          <a:p>
            <a:r>
              <a:rPr lang="de-CH" sz="1900"/>
              <a:t>Wichtige Telegrammdat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Auftrag	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Reinig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inke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_165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artezei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Sortiermaschi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Füllstand</a:t>
            </a:r>
            <a:endParaRPr lang="en-US" sz="1900"/>
          </a:p>
          <a:p>
            <a:endParaRPr lang="en-US" sz="1900"/>
          </a:p>
        </p:txBody>
      </p:sp>
    </p:spTree>
    <p:extLst>
      <p:ext uri="{BB962C8B-B14F-4D97-AF65-F5344CB8AC3E}">
        <p14:creationId xmlns:p14="http://schemas.microsoft.com/office/powerpoint/2010/main" val="224033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Visualis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Wird ebenfalls erneuert</a:t>
            </a:r>
          </a:p>
          <a:p>
            <a:r>
              <a:rPr lang="en-US" sz="2000">
                <a:solidFill>
                  <a:schemeClr val="bg1"/>
                </a:solidFill>
              </a:rPr>
              <a:t>War nicht Teil er IPA</a:t>
            </a:r>
          </a:p>
          <a:p>
            <a:r>
              <a:rPr lang="en-US" sz="2000">
                <a:solidFill>
                  <a:schemeClr val="bg1"/>
                </a:solidFill>
              </a:rPr>
              <a:t>Schnittstelle wird später definiert, wenn die Spezifikation dafür fertig ist</a:t>
            </a: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Inhaltsplatzhalter 3" descr="R:\SFS-Heerbrugg\C Projekte\P-006172 AKL Sortierung\02_Arbeitsordner\04_Automation\31_Planungsgrundlagen Kippstation, FA\00_Istaufnahme\dlu_31012019\IMG_4861.JPG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22411"/>
          <a:stretch/>
        </p:blipFill>
        <p:spPr bwMode="auto">
          <a:xfrm>
            <a:off x="5297763" y="1529832"/>
            <a:ext cx="6250769" cy="3637468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148027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86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38600" y="1172008"/>
            <a:ext cx="7188199" cy="451059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9072" y="0"/>
            <a:ext cx="2171700" cy="72771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isualisierung</a:t>
            </a:r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ür</a:t>
            </a:r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die </a:t>
            </a:r>
            <a:r>
              <a:rPr lang="en-US" sz="24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äsentation</a:t>
            </a:r>
            <a:endParaRPr lang="en-US" sz="24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27145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14400" y="-1"/>
            <a:ext cx="10849323" cy="1255059"/>
          </a:xfrm>
        </p:spPr>
        <p:txBody>
          <a:bodyPr>
            <a:normAutofit/>
          </a:bodyPr>
          <a:lstStyle/>
          <a:p>
            <a:r>
              <a:rPr lang="de-DE" dirty="0"/>
              <a:t>Move Modul Ein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9" name="Inhaltsplatzhalter 10">
            <a:extLst>
              <a:ext uri="{FF2B5EF4-FFF2-40B4-BE49-F238E27FC236}">
                <a16:creationId xmlns:a16="http://schemas.microsoft.com/office/drawing/2014/main" id="{0EF92D19-42CF-4246-9749-7BB3874565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421136"/>
              </p:ext>
            </p:extLst>
          </p:nvPr>
        </p:nvGraphicFramePr>
        <p:xfrm>
          <a:off x="1488869" y="1255058"/>
          <a:ext cx="9700385" cy="51919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4974">
                  <a:extLst>
                    <a:ext uri="{9D8B030D-6E8A-4147-A177-3AD203B41FA5}">
                      <a16:colId xmlns:a16="http://schemas.microsoft.com/office/drawing/2014/main" val="3451109830"/>
                    </a:ext>
                  </a:extLst>
                </a:gridCol>
                <a:gridCol w="1081134">
                  <a:extLst>
                    <a:ext uri="{9D8B030D-6E8A-4147-A177-3AD203B41FA5}">
                      <a16:colId xmlns:a16="http://schemas.microsoft.com/office/drawing/2014/main" val="2671062654"/>
                    </a:ext>
                  </a:extLst>
                </a:gridCol>
                <a:gridCol w="2448655">
                  <a:extLst>
                    <a:ext uri="{9D8B030D-6E8A-4147-A177-3AD203B41FA5}">
                      <a16:colId xmlns:a16="http://schemas.microsoft.com/office/drawing/2014/main" val="3967888270"/>
                    </a:ext>
                  </a:extLst>
                </a:gridCol>
                <a:gridCol w="3645622">
                  <a:extLst>
                    <a:ext uri="{9D8B030D-6E8A-4147-A177-3AD203B41FA5}">
                      <a16:colId xmlns:a16="http://schemas.microsoft.com/office/drawing/2014/main" val="2008315043"/>
                    </a:ext>
                  </a:extLst>
                </a:gridCol>
              </a:tblGrid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schreib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8261670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Bedienung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3858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Auto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BOO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66207804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Wahlschalter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6021308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StartJob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chlüsse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ftrag 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9407141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uf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81887885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ManualDow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b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53968406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QuitClean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mpulstas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einigung Quittier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4089231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Sensorik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03216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unt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2247943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ob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3828002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K in Kippstati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442416543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icherh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590647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verloa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ilfskontak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otorschutz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5862428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stausch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55008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imumLeve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destfüllstand unterschritt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94857628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Machin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iermaschine ber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148732810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S-AS 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41323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gab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846223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75381836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Ende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62119946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nahm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54245182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nahm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93627639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BG zu FA: Ende der Übernahme 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5249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98529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472742"/>
              </p:ext>
            </p:extLst>
          </p:nvPr>
        </p:nvGraphicFramePr>
        <p:xfrm>
          <a:off x="1530085" y="1255058"/>
          <a:ext cx="9617952" cy="3812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07020">
                  <a:extLst>
                    <a:ext uri="{9D8B030D-6E8A-4147-A177-3AD203B41FA5}">
                      <a16:colId xmlns:a16="http://schemas.microsoft.com/office/drawing/2014/main" val="990183365"/>
                    </a:ext>
                  </a:extLst>
                </a:gridCol>
                <a:gridCol w="829134">
                  <a:extLst>
                    <a:ext uri="{9D8B030D-6E8A-4147-A177-3AD203B41FA5}">
                      <a16:colId xmlns:a16="http://schemas.microsoft.com/office/drawing/2014/main" val="3411722308"/>
                    </a:ext>
                  </a:extLst>
                </a:gridCol>
                <a:gridCol w="2801474">
                  <a:extLst>
                    <a:ext uri="{9D8B030D-6E8A-4147-A177-3AD203B41FA5}">
                      <a16:colId xmlns:a16="http://schemas.microsoft.com/office/drawing/2014/main" val="1955453387"/>
                    </a:ext>
                  </a:extLst>
                </a:gridCol>
                <a:gridCol w="3680324">
                  <a:extLst>
                    <a:ext uri="{9D8B030D-6E8A-4147-A177-3AD203B41FA5}">
                      <a16:colId xmlns:a16="http://schemas.microsoft.com/office/drawing/2014/main" val="3035963532"/>
                    </a:ext>
                  </a:extLst>
                </a:gridCol>
              </a:tblGrid>
              <a:tr h="2932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aramete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Typ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schreib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552756013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Signalisatio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84752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leaningReques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Impulstaster mit Signallampe gel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Reinigung erforderli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713613398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InProgre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grü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läuf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09571467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Finishe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wei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beende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834479055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trieb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86635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U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OOL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u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8546660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Dow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95561761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S-AS Signal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99187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261161813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, Quittierung der Übergabe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11884702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3730871622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A zu RBG: Freigabe, Quittierung der Übernahme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891931159"/>
                  </a:ext>
                </a:extLst>
              </a:tr>
            </a:tbl>
          </a:graphicData>
        </a:graphic>
      </p:graphicFrame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914400" y="-1"/>
            <a:ext cx="10849323" cy="1255059"/>
          </a:xfrm>
        </p:spPr>
        <p:txBody>
          <a:bodyPr>
            <a:normAutofit/>
          </a:bodyPr>
          <a:lstStyle/>
          <a:p>
            <a:r>
              <a:rPr lang="de-DE" dirty="0"/>
              <a:t>Move Modul Ausgä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270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4119983"/>
              </p:ext>
            </p:extLst>
          </p:nvPr>
        </p:nvGraphicFramePr>
        <p:xfrm>
          <a:off x="1491119" y="1255058"/>
          <a:ext cx="9695884" cy="3812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3496">
                  <a:extLst>
                    <a:ext uri="{9D8B030D-6E8A-4147-A177-3AD203B41FA5}">
                      <a16:colId xmlns:a16="http://schemas.microsoft.com/office/drawing/2014/main" val="2851615344"/>
                    </a:ext>
                  </a:extLst>
                </a:gridCol>
                <a:gridCol w="1016438">
                  <a:extLst>
                    <a:ext uri="{9D8B030D-6E8A-4147-A177-3AD203B41FA5}">
                      <a16:colId xmlns:a16="http://schemas.microsoft.com/office/drawing/2014/main" val="1163689687"/>
                    </a:ext>
                  </a:extLst>
                </a:gridCol>
                <a:gridCol w="5405950">
                  <a:extLst>
                    <a:ext uri="{9D8B030D-6E8A-4147-A177-3AD203B41FA5}">
                      <a16:colId xmlns:a16="http://schemas.microsoft.com/office/drawing/2014/main" val="408743560"/>
                    </a:ext>
                  </a:extLst>
                </a:gridCol>
              </a:tblGrid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Typ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ommenta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810969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ceNumb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tznummer des Förderelemente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600231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Cran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 für Gabelspiel des 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18861673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Hoist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Überwachungszeit beim Kippen in 100m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970293758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Stay16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Zeit die auf Position 165° verharrt wir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02521221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ak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Nehm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8696467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Giv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Geb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51083763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bei Kipp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4179064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ApprovalButt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Hand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08714663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TestPlaceOccAfterGiv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esten ob der Platz nach Geben frei is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3145234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Get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verlässt den Platz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28494617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I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hat den Platz verlassen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32570235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Platz mit einer TE belegt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76886151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Warning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 Warnung wenn RBG nicht bereit ist send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207292848"/>
                  </a:ext>
                </a:extLst>
              </a:tr>
            </a:tbl>
          </a:graphicData>
        </a:graphic>
      </p:graphicFrame>
      <p:sp>
        <p:nvSpPr>
          <p:cNvPr id="8" name="Titel 3"/>
          <p:cNvSpPr txBox="1">
            <a:spLocks/>
          </p:cNvSpPr>
          <p:nvPr/>
        </p:nvSpPr>
        <p:spPr>
          <a:xfrm>
            <a:off x="914400" y="-1"/>
            <a:ext cx="10849323" cy="12550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ove Modul Para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1265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ove Modul State Machine (einfach)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96580" y="961812"/>
            <a:ext cx="6472238" cy="493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788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e Modul State </a:t>
            </a:r>
            <a:r>
              <a:rPr lang="de-DE" dirty="0" err="1"/>
              <a:t>Machin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4217894" cy="486513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b="5605"/>
          <a:stretch/>
        </p:blipFill>
        <p:spPr>
          <a:xfrm>
            <a:off x="7454152" y="875345"/>
            <a:ext cx="3371850" cy="5223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8524" y="1544183"/>
            <a:ext cx="3762375" cy="43053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192305" y="1735511"/>
            <a:ext cx="2043953" cy="17517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766901" y="3178828"/>
            <a:ext cx="2648652" cy="32764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236258" y="2476072"/>
            <a:ext cx="2146839" cy="397919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9474" y="2310634"/>
            <a:ext cx="3781425" cy="2733675"/>
          </a:xfrm>
          <a:prstGeom prst="rect">
            <a:avLst/>
          </a:prstGeom>
        </p:spPr>
      </p:pic>
      <p:pic>
        <p:nvPicPr>
          <p:cNvPr id="11" name="Inhaltsplatzhalter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7149" y="2091558"/>
            <a:ext cx="3067050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58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2F3C71-C981-4614-98EA-D6C494F809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3" y="321176"/>
            <a:ext cx="7174247" cy="5896743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1516" y="640263"/>
            <a:ext cx="6204984" cy="13449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 err="1"/>
              <a:t>Einleitung</a:t>
            </a:r>
            <a:endParaRPr lang="en-US" sz="4000" dirty="0"/>
          </a:p>
        </p:txBody>
      </p:sp>
      <p:pic>
        <p:nvPicPr>
          <p:cNvPr id="8" name="teil1_Trim_Trim">
            <a:hlinkClick r:id="" action="ppaction://media"/>
          </p:cNvPr>
          <p:cNvPicPr>
            <a:picLocks noGrp="1" noChangeAspect="1"/>
          </p:cNvPicPr>
          <p:nvPr>
            <p:ph sz="half" idx="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t="16238"/>
          <a:stretch/>
        </p:blipFill>
        <p:spPr>
          <a:xfrm>
            <a:off x="3429093" y="577183"/>
            <a:ext cx="3597407" cy="5356273"/>
          </a:xfr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793018"/>
            <a:ext cx="4042409" cy="1313782"/>
          </a:xfrm>
          <a:prstGeom prst="rect">
            <a:avLst/>
          </a:prstGeom>
        </p:spPr>
      </p:pic>
      <p:pic>
        <p:nvPicPr>
          <p:cNvPr id="13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3007518"/>
            <a:ext cx="4042410" cy="3031807"/>
          </a:xfrm>
          <a:prstGeom prst="rect">
            <a:avLst/>
          </a:prstGeom>
        </p:spPr>
      </p:pic>
      <p:pic>
        <p:nvPicPr>
          <p:cNvPr id="16" name="teil2_Trim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10"/>
          <a:srcRect b="22484"/>
          <a:stretch/>
        </p:blipFill>
        <p:spPr>
          <a:xfrm>
            <a:off x="3411190" y="597283"/>
            <a:ext cx="3857625" cy="5316071"/>
          </a:xfrm>
          <a:prstGeom prst="rect">
            <a:avLst/>
          </a:prstGeom>
        </p:spPr>
      </p:pic>
      <p:sp>
        <p:nvSpPr>
          <p:cNvPr id="17" name="Inhaltsplatzhalter 4"/>
          <p:cNvSpPr txBox="1">
            <a:spLocks/>
          </p:cNvSpPr>
          <p:nvPr/>
        </p:nvSpPr>
        <p:spPr>
          <a:xfrm>
            <a:off x="821516" y="1985238"/>
            <a:ext cx="6204984" cy="3626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/>
              <a:t>Abschlussarbeit</a:t>
            </a:r>
            <a:endParaRPr lang="en-US" sz="2400" dirty="0"/>
          </a:p>
          <a:p>
            <a:r>
              <a:rPr lang="en-US" sz="2400" dirty="0" err="1"/>
              <a:t>Projekt</a:t>
            </a:r>
            <a:r>
              <a:rPr lang="en-US" sz="2400" dirty="0"/>
              <a:t> </a:t>
            </a:r>
            <a:r>
              <a:rPr lang="en-US" sz="2400" dirty="0" err="1"/>
              <a:t>für</a:t>
            </a:r>
            <a:r>
              <a:rPr lang="en-US" sz="2400" dirty="0"/>
              <a:t> SFS</a:t>
            </a:r>
          </a:p>
          <a:p>
            <a:r>
              <a:rPr lang="en-US" sz="2400" dirty="0" err="1"/>
              <a:t>Zeitbudget</a:t>
            </a:r>
            <a:endParaRPr lang="en-US" sz="2400" dirty="0"/>
          </a:p>
          <a:p>
            <a:r>
              <a:rPr lang="en-US" sz="2400" dirty="0"/>
              <a:t>SCS Standard</a:t>
            </a:r>
          </a:p>
          <a:p>
            <a:pPr marL="0" indent="0">
              <a:buNone/>
            </a:pP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9398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603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  <p:cmd type="call" cmd="stop">
                                      <p:cBhvr>
                                        <p:cTn id="15" dur="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3013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3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4" fill="hold">
                      <p:stCondLst>
                        <p:cond delay="0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7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video>
              <p:cMediaNode vol="80000">
                <p:cTn id="28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s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SIS Dog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Telegramm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Beobachtungstabell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Touch Panel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Fehler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Ergebniss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werden</a:t>
            </a:r>
            <a:r>
              <a:rPr lang="en-US" sz="2000" dirty="0">
                <a:solidFill>
                  <a:schemeClr val="bg1"/>
                </a:solidFill>
              </a:rPr>
              <a:t> in </a:t>
            </a:r>
            <a:r>
              <a:rPr lang="en-US" sz="2000" dirty="0" err="1">
                <a:solidFill>
                  <a:schemeClr val="bg1"/>
                </a:solidFill>
              </a:rPr>
              <a:t>ein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Checklist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eingetragen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432" b="15968"/>
          <a:stretch/>
        </p:blipFill>
        <p:spPr>
          <a:xfrm>
            <a:off x="4845942" y="1223472"/>
            <a:ext cx="7209079" cy="4411056"/>
          </a:xfrm>
          <a:prstGeom prst="rect">
            <a:avLst/>
          </a:prstGeom>
        </p:spPr>
      </p:pic>
      <p:pic>
        <p:nvPicPr>
          <p:cNvPr id="13" name="Inhaltsplatzhalter 10">
            <a:extLst>
              <a:ext uri="{FF2B5EF4-FFF2-40B4-BE49-F238E27FC236}">
                <a16:creationId xmlns:a16="http://schemas.microsoft.com/office/drawing/2014/main" id="{419A8C89-BCF1-48CA-9A8E-7873C4F12BD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800612" y="3324113"/>
            <a:ext cx="7211553" cy="231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900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zeichnun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022390-9300-42B7-B652-A9CB0FF87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209" y="1388303"/>
            <a:ext cx="9489581" cy="524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905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F9EB9F2-07E2-4D64-BBD8-BB5B217F1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80588" y="965199"/>
            <a:ext cx="6766078" cy="4927601"/>
          </a:xfrm>
        </p:spPr>
        <p:txBody>
          <a:bodyPr anchor="ctr">
            <a:normAutofit/>
          </a:bodyPr>
          <a:lstStyle/>
          <a:p>
            <a:pPr algn="l"/>
            <a:r>
              <a:rPr lang="de-DE" sz="5400">
                <a:solidFill>
                  <a:schemeClr val="tx1">
                    <a:lumMod val="85000"/>
                    <a:lumOff val="15000"/>
                  </a:schemeClr>
                </a:solidFill>
              </a:rPr>
              <a:t>Präsentation des Programmes</a:t>
            </a:r>
            <a:endParaRPr lang="en-US" sz="5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C57C7C-DFE9-4A1E-B7A9-DF40E63366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3418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B66F6E8-4D4A-4907-940A-774703A2D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9016005" y="5367908"/>
            <a:ext cx="3175996" cy="1490093"/>
          </a:xfrm>
          <a:custGeom>
            <a:avLst/>
            <a:gdLst>
              <a:gd name="connsiteX0" fmla="*/ 2485888 w 3175996"/>
              <a:gd name="connsiteY0" fmla="*/ 1490093 h 1490093"/>
              <a:gd name="connsiteX1" fmla="*/ 0 w 3175996"/>
              <a:gd name="connsiteY1" fmla="*/ 1490093 h 1490093"/>
              <a:gd name="connsiteX2" fmla="*/ 0 w 3175996"/>
              <a:gd name="connsiteY2" fmla="*/ 0 h 1490093"/>
              <a:gd name="connsiteX3" fmla="*/ 3175996 w 3175996"/>
              <a:gd name="connsiteY3" fmla="*/ 0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5996" h="1490093">
                <a:moveTo>
                  <a:pt x="2485888" y="1490093"/>
                </a:moveTo>
                <a:lnTo>
                  <a:pt x="0" y="1490093"/>
                </a:lnTo>
                <a:lnTo>
                  <a:pt x="0" y="0"/>
                </a:lnTo>
                <a:lnTo>
                  <a:pt x="317599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1F5A56-E82B-4FD5-9025-B72896FFB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67908"/>
            <a:ext cx="9566296" cy="1490093"/>
          </a:xfrm>
          <a:custGeom>
            <a:avLst/>
            <a:gdLst>
              <a:gd name="connsiteX0" fmla="*/ 0 w 9566296"/>
              <a:gd name="connsiteY0" fmla="*/ 0 h 1490093"/>
              <a:gd name="connsiteX1" fmla="*/ 405267 w 9566296"/>
              <a:gd name="connsiteY1" fmla="*/ 0 h 1490093"/>
              <a:gd name="connsiteX2" fmla="*/ 631857 w 9566296"/>
              <a:gd name="connsiteY2" fmla="*/ 0 h 1490093"/>
              <a:gd name="connsiteX3" fmla="*/ 2451761 w 9566296"/>
              <a:gd name="connsiteY3" fmla="*/ 0 h 1490093"/>
              <a:gd name="connsiteX4" fmla="*/ 2901880 w 9566296"/>
              <a:gd name="connsiteY4" fmla="*/ 0 h 1490093"/>
              <a:gd name="connsiteX5" fmla="*/ 3641106 w 9566296"/>
              <a:gd name="connsiteY5" fmla="*/ 0 h 1490093"/>
              <a:gd name="connsiteX6" fmla="*/ 9566296 w 9566296"/>
              <a:gd name="connsiteY6" fmla="*/ 0 h 1490093"/>
              <a:gd name="connsiteX7" fmla="*/ 8876188 w 9566296"/>
              <a:gd name="connsiteY7" fmla="*/ 1490093 h 1490093"/>
              <a:gd name="connsiteX8" fmla="*/ 631857 w 9566296"/>
              <a:gd name="connsiteY8" fmla="*/ 1490093 h 1490093"/>
              <a:gd name="connsiteX9" fmla="*/ 405267 w 9566296"/>
              <a:gd name="connsiteY9" fmla="*/ 1490093 h 1490093"/>
              <a:gd name="connsiteX10" fmla="*/ 0 w 9566296"/>
              <a:gd name="connsiteY10" fmla="*/ 1490093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66296" h="1490093">
                <a:moveTo>
                  <a:pt x="0" y="0"/>
                </a:moveTo>
                <a:lnTo>
                  <a:pt x="405267" y="0"/>
                </a:lnTo>
                <a:lnTo>
                  <a:pt x="631857" y="0"/>
                </a:lnTo>
                <a:lnTo>
                  <a:pt x="2451761" y="0"/>
                </a:lnTo>
                <a:lnTo>
                  <a:pt x="2901880" y="0"/>
                </a:lnTo>
                <a:lnTo>
                  <a:pt x="3641106" y="0"/>
                </a:lnTo>
                <a:lnTo>
                  <a:pt x="9566296" y="0"/>
                </a:lnTo>
                <a:lnTo>
                  <a:pt x="8876188" y="1490093"/>
                </a:lnTo>
                <a:lnTo>
                  <a:pt x="631857" y="1490093"/>
                </a:lnTo>
                <a:lnTo>
                  <a:pt x="405267" y="1490093"/>
                </a:lnTo>
                <a:lnTo>
                  <a:pt x="0" y="149009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5529884"/>
            <a:ext cx="8078342" cy="1096331"/>
          </a:xfrm>
        </p:spPr>
        <p:txBody>
          <a:bodyPr>
            <a:normAutofit/>
          </a:bodyPr>
          <a:lstStyle/>
          <a:p>
            <a:r>
              <a:rPr lang="de-DE"/>
              <a:t>Fazit</a:t>
            </a:r>
            <a:endParaRPr lang="en-US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DDC3F4C-553F-4BB2-B29E-82764B08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2398485"/>
              </p:ext>
            </p:extLst>
          </p:nvPr>
        </p:nvGraphicFramePr>
        <p:xfrm>
          <a:off x="838200" y="643467"/>
          <a:ext cx="10515600" cy="408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28727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8A740BC-A0AA-45E0-B899-2AE9C6FE1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13121" y="-2"/>
            <a:ext cx="6278879" cy="6858002"/>
          </a:xfrm>
          <a:custGeom>
            <a:avLst/>
            <a:gdLst>
              <a:gd name="connsiteX0" fmla="*/ 45572 w 6278879"/>
              <a:gd name="connsiteY0" fmla="*/ 0 h 6858002"/>
              <a:gd name="connsiteX1" fmla="*/ 6278879 w 6278879"/>
              <a:gd name="connsiteY1" fmla="*/ 0 h 6858002"/>
              <a:gd name="connsiteX2" fmla="*/ 6278879 w 6278879"/>
              <a:gd name="connsiteY2" fmla="*/ 6858002 h 6858002"/>
              <a:gd name="connsiteX3" fmla="*/ 3292308 w 6278879"/>
              <a:gd name="connsiteY3" fmla="*/ 6858002 h 6858002"/>
              <a:gd name="connsiteX4" fmla="*/ 3181526 w 6278879"/>
              <a:gd name="connsiteY4" fmla="*/ 6786982 h 6858002"/>
              <a:gd name="connsiteX5" fmla="*/ 0 w 6278879"/>
              <a:gd name="connsiteY5" fmla="*/ 803254 h 6858002"/>
              <a:gd name="connsiteX6" fmla="*/ 37255 w 6278879"/>
              <a:gd name="connsiteY6" fmla="*/ 65447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9" h="6858002">
                <a:moveTo>
                  <a:pt x="45572" y="0"/>
                </a:moveTo>
                <a:lnTo>
                  <a:pt x="6278879" y="0"/>
                </a:lnTo>
                <a:lnTo>
                  <a:pt x="6278879" y="6858002"/>
                </a:lnTo>
                <a:lnTo>
                  <a:pt x="3292308" y="6858002"/>
                </a:lnTo>
                <a:lnTo>
                  <a:pt x="3181526" y="6786982"/>
                </a:lnTo>
                <a:cubicBezTo>
                  <a:pt x="1262021" y="5490191"/>
                  <a:pt x="0" y="3294103"/>
                  <a:pt x="0" y="803254"/>
                </a:cubicBezTo>
                <a:cubicBezTo>
                  <a:pt x="0" y="554169"/>
                  <a:pt x="12620" y="308032"/>
                  <a:pt x="37255" y="65447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320" y="365125"/>
            <a:ext cx="9013052" cy="1623312"/>
          </a:xfrm>
        </p:spPr>
        <p:txBody>
          <a:bodyPr anchor="b">
            <a:normAutofit/>
          </a:bodyPr>
          <a:lstStyle/>
          <a:p>
            <a:r>
              <a:rPr lang="de-DE" sz="4000"/>
              <a:t>Zukunft</a:t>
            </a:r>
            <a:endParaRPr lang="en-US" sz="40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874EF51-C858-4BB9-97C3-D17755787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3661" y="2316480"/>
            <a:ext cx="82296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5320" y="2644518"/>
            <a:ext cx="9013052" cy="3327251"/>
          </a:xfrm>
        </p:spPr>
        <p:txBody>
          <a:bodyPr>
            <a:normAutofit/>
          </a:bodyPr>
          <a:lstStyle/>
          <a:p>
            <a:r>
              <a:rPr lang="de-DE" sz="2000" dirty="0"/>
              <a:t>Weiter am </a:t>
            </a:r>
            <a:r>
              <a:rPr lang="de-DE" sz="2000"/>
              <a:t>Projekt arbeiten</a:t>
            </a:r>
            <a:endParaRPr lang="de-DE" sz="2000" dirty="0"/>
          </a:p>
          <a:p>
            <a:r>
              <a:rPr lang="de-DE" sz="2000" dirty="0"/>
              <a:t>Kleinere Anpassung die nachträglich spezifiziert wurden</a:t>
            </a:r>
          </a:p>
          <a:p>
            <a:r>
              <a:rPr lang="de-DE" sz="2000" dirty="0"/>
              <a:t>WinCC Schnittstelle definieren</a:t>
            </a:r>
          </a:p>
          <a:p>
            <a:r>
              <a:rPr lang="de-DE" sz="2000" dirty="0"/>
              <a:t>Pendenzenliste weiter führen und ablegen</a:t>
            </a:r>
          </a:p>
          <a:p>
            <a:r>
              <a:rPr lang="de-DE" sz="2000" dirty="0"/>
              <a:t>Übergabe des Projektes vor Lehrabschlus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44777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r>
              <a:rPr lang="de-CH" dirty="0"/>
              <a:t>SCS Standard</a:t>
            </a:r>
            <a:endParaRPr lang="en-US" dirty="0"/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838200" y="1825626"/>
            <a:ext cx="3653118" cy="1961147"/>
          </a:xfrm>
          <a:prstGeom prst="rect">
            <a:avLst/>
          </a:prstGeom>
        </p:spPr>
      </p:pic>
      <p:pic>
        <p:nvPicPr>
          <p:cNvPr id="11" name="Inhaltsplatzhalter 10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715435" y="1825624"/>
            <a:ext cx="6638365" cy="3746228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29236" y="4371523"/>
            <a:ext cx="36620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Platznummerierun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Von-Platz und Nach-Pl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Elementtabell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901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9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>
            <a:normAutofit/>
          </a:bodyPr>
          <a:lstStyle/>
          <a:p>
            <a:r>
              <a:rPr lang="de-DE" sz="4000">
                <a:solidFill>
                  <a:srgbClr val="FFFFFF"/>
                </a:solidFill>
              </a:rPr>
              <a:t>Inhalt</a:t>
            </a:r>
            <a:endParaRPr lang="en-US" sz="4000">
              <a:solidFill>
                <a:srgbClr val="FFFFFF"/>
              </a:solidFill>
            </a:endParaRPr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AD32491-A097-497F-BD95-8FE2493A919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0929190"/>
              </p:ext>
            </p:extLst>
          </p:nvPr>
        </p:nvGraphicFramePr>
        <p:xfrm>
          <a:off x="5010150" y="685800"/>
          <a:ext cx="6492875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188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haltsplatzhalter 22"/>
          <p:cNvPicPr>
            <a:picLocks noGrp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65" b="13446"/>
          <a:stretch/>
        </p:blipFill>
        <p:spPr bwMode="auto">
          <a:xfrm>
            <a:off x="782932" y="1582011"/>
            <a:ext cx="7755082" cy="425270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der Anlag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38200" y="5148171"/>
            <a:ext cx="6651336" cy="126959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e-CH" dirty="0"/>
              <a:t>Legende: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1: An- / Ablieferung der Paletten	4: Kippstationen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2: Einlagerstrecke			5: Regalbediengerät (RBG)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3: Auslagerstrecke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838200" y="1582011"/>
            <a:ext cx="7132320" cy="3566160"/>
            <a:chOff x="0" y="286247"/>
            <a:chExt cx="5826760" cy="2580778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985"/>
            <a:stretch/>
          </p:blipFill>
          <p:spPr bwMode="auto">
            <a:xfrm>
              <a:off x="0" y="286247"/>
              <a:ext cx="5826760" cy="258077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" name="Gruppieren 7"/>
            <p:cNvGrpSpPr/>
            <p:nvPr/>
          </p:nvGrpSpPr>
          <p:grpSpPr>
            <a:xfrm>
              <a:off x="2962275" y="733268"/>
              <a:ext cx="2320924" cy="2086229"/>
              <a:chOff x="2705100" y="-157"/>
              <a:chExt cx="2320924" cy="2086229"/>
            </a:xfrm>
            <a:noFill/>
          </p:grpSpPr>
          <p:sp>
            <p:nvSpPr>
              <p:cNvPr id="9" name="Text Box 2"/>
              <p:cNvSpPr txBox="1">
                <a:spLocks noChangeArrowheads="1"/>
              </p:cNvSpPr>
              <p:nvPr/>
            </p:nvSpPr>
            <p:spPr bwMode="auto">
              <a:xfrm>
                <a:off x="2705100" y="1780638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1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0" name="Text Box 2"/>
              <p:cNvSpPr txBox="1">
                <a:spLocks noChangeArrowheads="1"/>
              </p:cNvSpPr>
              <p:nvPr/>
            </p:nvSpPr>
            <p:spPr bwMode="auto">
              <a:xfrm>
                <a:off x="4267200" y="1437811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2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1" name="Text Box 2"/>
              <p:cNvSpPr txBox="1">
                <a:spLocks noChangeArrowheads="1"/>
              </p:cNvSpPr>
              <p:nvPr/>
            </p:nvSpPr>
            <p:spPr bwMode="auto">
              <a:xfrm>
                <a:off x="3181350" y="94261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3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2" name="Text Box 2"/>
              <p:cNvSpPr txBox="1">
                <a:spLocks noChangeArrowheads="1"/>
              </p:cNvSpPr>
              <p:nvPr/>
            </p:nvSpPr>
            <p:spPr bwMode="auto">
              <a:xfrm>
                <a:off x="4695825" y="-15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5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3" name="Text Box 2"/>
              <p:cNvSpPr txBox="1">
                <a:spLocks noChangeArrowheads="1"/>
              </p:cNvSpPr>
              <p:nvPr/>
            </p:nvSpPr>
            <p:spPr bwMode="auto">
              <a:xfrm>
                <a:off x="4705350" y="761680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4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</p:grpSp>
      </p:grpSp>
      <p:sp>
        <p:nvSpPr>
          <p:cNvPr id="4" name="Textfeld 3"/>
          <p:cNvSpPr txBox="1"/>
          <p:nvPr/>
        </p:nvSpPr>
        <p:spPr>
          <a:xfrm>
            <a:off x="8593282" y="1533575"/>
            <a:ext cx="2904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Kippstation</a:t>
            </a:r>
          </a:p>
          <a:p>
            <a:pPr marL="285750" indent="-285750">
              <a:buFontTx/>
              <a:buChar char="-"/>
            </a:pPr>
            <a:r>
              <a:rPr lang="de-DE" dirty="0"/>
              <a:t>Ein- / Auslagerstrecke</a:t>
            </a:r>
          </a:p>
          <a:p>
            <a:pPr marL="285750" indent="-285750">
              <a:buFontTx/>
              <a:buChar char="-"/>
            </a:pPr>
            <a:r>
              <a:rPr lang="de-DE" dirty="0"/>
              <a:t>Regalbediengerät</a:t>
            </a:r>
          </a:p>
          <a:p>
            <a:pPr marL="285750" indent="-285750">
              <a:buFontTx/>
              <a:buChar char="-"/>
            </a:pPr>
            <a:r>
              <a:rPr lang="de-DE" dirty="0"/>
              <a:t>Externe Sortiermaschine</a:t>
            </a:r>
          </a:p>
          <a:p>
            <a:pPr marL="285750" indent="-285750">
              <a:buFontTx/>
              <a:buChar char="-"/>
            </a:pPr>
            <a:r>
              <a:rPr lang="de-DE" dirty="0"/>
              <a:t>Materialflussrechner</a:t>
            </a:r>
          </a:p>
          <a:p>
            <a:pPr marL="285750" indent="-285750">
              <a:buFontTx/>
              <a:buChar char="-"/>
            </a:pPr>
            <a:r>
              <a:rPr lang="de-DE" dirty="0"/>
              <a:t>Mitarbei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95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974" y="874669"/>
            <a:ext cx="6738558" cy="470204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bau der Kippsta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Keine Rollen oder Förderkett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Motor zum heben und senk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Sensoren für Position und Belegung der Kippsta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Jede Kippstation hat eine eigene Bedienbox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Auftrag wird vom MFR gesendet</a:t>
            </a:r>
          </a:p>
        </p:txBody>
      </p:sp>
      <p:pic>
        <p:nvPicPr>
          <p:cNvPr id="17" name="Inhaltsplatzhalter 5">
            <a:extLst>
              <a:ext uri="{FF2B5EF4-FFF2-40B4-BE49-F238E27FC236}">
                <a16:creationId xmlns:a16="http://schemas.microsoft.com/office/drawing/2014/main" id="{B666A6DB-CA3D-4E7D-BD3C-2AF70D40B937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763" y="1167727"/>
            <a:ext cx="2913176" cy="4361678"/>
          </a:xfrm>
          <a:prstGeom prst="rect">
            <a:avLst/>
          </a:prstGeom>
        </p:spPr>
      </p:pic>
      <p:pic>
        <p:nvPicPr>
          <p:cNvPr id="19" name="Inhaltsplatzhalter 4" descr="R:\SFS-Heerbrugg\C Projekte\P-006172 AKL Sortierung\02_Arbeitsordner\04_Automation\31_Planungsgrundlagen Kippstation, FA\00_Istaufnahme\dlu_31012019\IMG_4825.JPG">
            <a:extLst>
              <a:ext uri="{FF2B5EF4-FFF2-40B4-BE49-F238E27FC236}">
                <a16:creationId xmlns:a16="http://schemas.microsoft.com/office/drawing/2014/main" id="{4319A056-B678-4280-A0B4-98D53BD127FE}"/>
              </a:ext>
            </a:extLst>
          </p:cNvPr>
          <p:cNvPicPr>
            <a:picLocks noGrp="1"/>
          </p:cNvPicPr>
          <p:nvPr>
            <p:ph sz="half" idx="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6"/>
          <a:stretch/>
        </p:blipFill>
        <p:spPr bwMode="auto">
          <a:xfrm>
            <a:off x="8210939" y="2638044"/>
            <a:ext cx="3337593" cy="28913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2395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Anforderungen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der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Kippstation</a:t>
            </a:r>
            <a:endParaRPr lang="en-US" sz="4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931" y="2438400"/>
            <a:ext cx="3505494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Automatikbetrieb</a:t>
            </a:r>
          </a:p>
          <a:p>
            <a:r>
              <a:rPr lang="en-US" sz="2000"/>
              <a:t>Handbetrieb</a:t>
            </a:r>
          </a:p>
          <a:p>
            <a:endParaRPr lang="en-US" sz="2000"/>
          </a:p>
          <a:p>
            <a:r>
              <a:rPr lang="en-US" sz="2000"/>
              <a:t>Standartablauf</a:t>
            </a:r>
          </a:p>
          <a:p>
            <a:r>
              <a:rPr lang="en-US" sz="2000"/>
              <a:t>Spezialabläufe</a:t>
            </a:r>
          </a:p>
          <a:p>
            <a:pPr lvl="1"/>
            <a:r>
              <a:rPr lang="en-US" sz="2000"/>
              <a:t>Auftragsunterbruch</a:t>
            </a:r>
          </a:p>
          <a:p>
            <a:pPr lvl="1"/>
            <a:r>
              <a:rPr lang="en-US" sz="2000"/>
              <a:t>Auftragsabbruch</a:t>
            </a:r>
          </a:p>
          <a:p>
            <a:pPr lvl="1"/>
            <a:r>
              <a:rPr lang="en-US" sz="2000"/>
              <a:t>Reinigungsinterva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484632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701665D-3F65-4B38-89FF-44CCEF0D8C8D}"/>
              </a:ext>
            </a:extLst>
          </p:cNvPr>
          <p:cNvSpPr txBox="1"/>
          <p:nvPr/>
        </p:nvSpPr>
        <p:spPr>
          <a:xfrm>
            <a:off x="5123688" y="484632"/>
            <a:ext cx="3912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tandardablauf: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309" y="1338596"/>
            <a:ext cx="1819529" cy="484412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0204" y="4331109"/>
            <a:ext cx="3293813" cy="133002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5528" y="4434686"/>
            <a:ext cx="1653880" cy="78736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2884" y="4434686"/>
            <a:ext cx="1653880" cy="78736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4549" y="1767382"/>
            <a:ext cx="1055363" cy="677733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54548" y="1766681"/>
            <a:ext cx="1055363" cy="67773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458" y="1746462"/>
            <a:ext cx="1055363" cy="67773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73748" y="1746809"/>
            <a:ext cx="1055363" cy="677733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73747" y="1777274"/>
            <a:ext cx="1055363" cy="677733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87656" y="1762041"/>
            <a:ext cx="1055363" cy="677733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79038" y="1746461"/>
            <a:ext cx="1055363" cy="677733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88112" y="1755583"/>
            <a:ext cx="1055363" cy="677733"/>
          </a:xfrm>
          <a:prstGeom prst="rect">
            <a:avLst/>
          </a:prstGeom>
        </p:spPr>
      </p:pic>
      <p:pic>
        <p:nvPicPr>
          <p:cNvPr id="24" name="Inhaltsplatzhalter 23"/>
          <p:cNvPicPr>
            <a:picLocks noGrp="1" noChangeAspect="1"/>
          </p:cNvPicPr>
          <p:nvPr>
            <p:ph sz="half" idx="2"/>
          </p:nvPr>
        </p:nvPicPr>
        <p:blipFill>
          <a:blip r:embed="rId13"/>
          <a:stretch>
            <a:fillRect/>
          </a:stretch>
        </p:blipFill>
        <p:spPr>
          <a:xfrm>
            <a:off x="-45272" y="2155440"/>
            <a:ext cx="4503018" cy="4351338"/>
          </a:xfrm>
          <a:prstGeom prst="rect">
            <a:avLst/>
          </a:prstGeom>
        </p:spPr>
      </p:pic>
      <p:sp>
        <p:nvSpPr>
          <p:cNvPr id="27" name="Pfeil nach rechts 26"/>
          <p:cNvSpPr/>
          <p:nvPr/>
        </p:nvSpPr>
        <p:spPr>
          <a:xfrm>
            <a:off x="7509171" y="4449032"/>
            <a:ext cx="647700" cy="1752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feil nach rechts 27"/>
          <p:cNvSpPr/>
          <p:nvPr/>
        </p:nvSpPr>
        <p:spPr>
          <a:xfrm rot="10800000">
            <a:off x="7509171" y="4977025"/>
            <a:ext cx="647700" cy="1752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709912" y="3679597"/>
            <a:ext cx="1055363" cy="67773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7747826-4EAF-4BAC-869A-AF6382DB7182}"/>
              </a:ext>
            </a:extLst>
          </p:cNvPr>
          <p:cNvSpPr/>
          <p:nvPr/>
        </p:nvSpPr>
        <p:spPr>
          <a:xfrm>
            <a:off x="7688616" y="1203993"/>
            <a:ext cx="994662" cy="40189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/>
              <a:t>KS Telegramm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95877F3-A69A-4D07-93CE-7B2B321D2EF6}"/>
              </a:ext>
            </a:extLst>
          </p:cNvPr>
          <p:cNvSpPr/>
          <p:nvPr/>
        </p:nvSpPr>
        <p:spPr>
          <a:xfrm>
            <a:off x="8905152" y="1189174"/>
            <a:ext cx="994662" cy="401894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/>
              <a:t>KR Telegramme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11F56C5-3821-42C4-A8DF-8B1B564CBE45}"/>
              </a:ext>
            </a:extLst>
          </p:cNvPr>
          <p:cNvSpPr/>
          <p:nvPr/>
        </p:nvSpPr>
        <p:spPr>
          <a:xfrm>
            <a:off x="10099103" y="1189174"/>
            <a:ext cx="994662" cy="401894"/>
          </a:xfrm>
          <a:prstGeom prst="rect">
            <a:avLst/>
          </a:prstGeom>
          <a:solidFill>
            <a:srgbClr val="0070C0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/>
              <a:t>OS Telegramme</a:t>
            </a:r>
          </a:p>
        </p:txBody>
      </p:sp>
      <p:pic>
        <p:nvPicPr>
          <p:cNvPr id="31" name="Inhaltsplatzhalter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21428" y="1363222"/>
            <a:ext cx="4503018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6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 animBg="1"/>
      <p:bldP spid="28" grpId="1" animBg="1"/>
      <p:bldP spid="7" grpId="0" animBg="1"/>
      <p:bldP spid="26" grpId="0" animBg="1"/>
      <p:bldP spid="2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mage im SC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Speichert Daten der Transporteinheit wie Gewicht oder Ziel</a:t>
            </a:r>
          </a:p>
          <a:p>
            <a:r>
              <a:rPr lang="en-US" sz="2000">
                <a:solidFill>
                  <a:schemeClr val="bg1"/>
                </a:solidFill>
              </a:rPr>
              <a:t>Wird vor dem eigentlichen Übertrieb übergeben</a:t>
            </a:r>
          </a:p>
          <a:p>
            <a:r>
              <a:rPr lang="en-US" sz="2000">
                <a:solidFill>
                  <a:schemeClr val="bg1"/>
                </a:solidFill>
              </a:rPr>
              <a:t>Wird gelöscht wenn die Anlage gewechselt wird. </a:t>
            </a:r>
          </a:p>
          <a:p>
            <a:endParaRPr lang="en-US" sz="2000">
              <a:solidFill>
                <a:schemeClr val="bg1"/>
              </a:solidFill>
            </a:endParaRP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665CAB-9957-411E-BD7C-44E04A63C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690" y="643467"/>
            <a:ext cx="6044915" cy="541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653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8A4132F-DEC6-4332-A00C-A11AD4519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910" y="1820333"/>
            <a:ext cx="3516963" cy="4036181"/>
          </a:xfrm>
          <a:prstGeom prst="rect">
            <a:avLst/>
          </a:prstGeom>
        </p:spPr>
      </p:pic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4965EAE-E41A-435F-B993-07E824B6C9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0"/>
            <a:ext cx="7539895" cy="6858000"/>
          </a:xfrm>
          <a:custGeom>
            <a:avLst/>
            <a:gdLst>
              <a:gd name="connsiteX0" fmla="*/ 7539895 w 7539895"/>
              <a:gd name="connsiteY0" fmla="*/ 6858000 h 6858000"/>
              <a:gd name="connsiteX1" fmla="*/ 0 w 7539895"/>
              <a:gd name="connsiteY1" fmla="*/ 6858000 h 6858000"/>
              <a:gd name="connsiteX2" fmla="*/ 0 w 7539895"/>
              <a:gd name="connsiteY2" fmla="*/ 0 h 6858000"/>
              <a:gd name="connsiteX3" fmla="*/ 4363741 w 753989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39895" h="6858000">
                <a:moveTo>
                  <a:pt x="753989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436374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52F8994-E6D4-4311-9548-C3607BC436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7092985" cy="6858000"/>
          </a:xfrm>
          <a:custGeom>
            <a:avLst/>
            <a:gdLst>
              <a:gd name="connsiteX0" fmla="*/ 7092985 w 7092985"/>
              <a:gd name="connsiteY0" fmla="*/ 6858000 h 6858000"/>
              <a:gd name="connsiteX1" fmla="*/ 0 w 7092985"/>
              <a:gd name="connsiteY1" fmla="*/ 6858000 h 6858000"/>
              <a:gd name="connsiteX2" fmla="*/ 0 w 7092985"/>
              <a:gd name="connsiteY2" fmla="*/ 0 h 6858000"/>
              <a:gd name="connsiteX3" fmla="*/ 3916831 w 709298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2985" h="6858000">
                <a:moveTo>
                  <a:pt x="709298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391683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5529943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age bei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838199" y="1825625"/>
            <a:ext cx="4128169" cy="339951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Bestehende Image erweitert</a:t>
            </a:r>
          </a:p>
          <a:p>
            <a:r>
              <a:rPr lang="en-US" sz="2000"/>
              <a:t>Speichert zusätzliche den Kippauftrag</a:t>
            </a:r>
          </a:p>
          <a:p>
            <a:r>
              <a:rPr lang="en-US" sz="2000"/>
              <a:t>Solange eine Auftrag aktiv ist, ist ein Image vorhanden</a:t>
            </a:r>
          </a:p>
          <a:p>
            <a:r>
              <a:rPr lang="en-US" sz="2000"/>
              <a:t>Wird erst nach Auftrag beenden gelöscht</a:t>
            </a:r>
          </a:p>
          <a:p>
            <a:endParaRPr lang="en-US" sz="2000"/>
          </a:p>
          <a:p>
            <a:endParaRPr lang="en-US" sz="20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EDB3D83-435A-4241-9D61-A342525D8025}"/>
              </a:ext>
            </a:extLst>
          </p:cNvPr>
          <p:cNvSpPr/>
          <p:nvPr/>
        </p:nvSpPr>
        <p:spPr>
          <a:xfrm>
            <a:off x="7464910" y="4317712"/>
            <a:ext cx="3516962" cy="153880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56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9</Words>
  <Application>Microsoft Office PowerPoint</Application>
  <PresentationFormat>Breitbild</PresentationFormat>
  <Paragraphs>438</Paragraphs>
  <Slides>24</Slides>
  <Notes>3</Notes>
  <HiddenSlides>0</HiddenSlides>
  <MMClips>2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Times New Roman</vt:lpstr>
      <vt:lpstr>Office</vt:lpstr>
      <vt:lpstr>think-cell Folie</vt:lpstr>
      <vt:lpstr>PowerPoint-Präsentation</vt:lpstr>
      <vt:lpstr>Einleitung</vt:lpstr>
      <vt:lpstr>SCS Standard</vt:lpstr>
      <vt:lpstr>Inhalt</vt:lpstr>
      <vt:lpstr>Aufbau der Anlage</vt:lpstr>
      <vt:lpstr>Aufbau der Kippstation</vt:lpstr>
      <vt:lpstr>Anforderungen der Kippstation</vt:lpstr>
      <vt:lpstr>Image im SCS</vt:lpstr>
      <vt:lpstr>Image bei der Kippstation</vt:lpstr>
      <vt:lpstr>Telegramme</vt:lpstr>
      <vt:lpstr>Aufbau eines Telegrammes (CSS+OS)</vt:lpstr>
      <vt:lpstr>CTM+KS / CTS+KR Telegramm</vt:lpstr>
      <vt:lpstr>Visualisierung</vt:lpstr>
      <vt:lpstr>Visualisierung für die Präsentation</vt:lpstr>
      <vt:lpstr>Move Modul Eingänge</vt:lpstr>
      <vt:lpstr>Move Modul Ausgänge</vt:lpstr>
      <vt:lpstr>PowerPoint-Präsentation</vt:lpstr>
      <vt:lpstr>Move Modul State Machine (einfach)</vt:lpstr>
      <vt:lpstr>Move Modul State Machine</vt:lpstr>
      <vt:lpstr>Tests</vt:lpstr>
      <vt:lpstr>Aufzeichnungen</vt:lpstr>
      <vt:lpstr>Präsentation des Programmes</vt:lpstr>
      <vt:lpstr>Fazit</vt:lpstr>
      <vt:lpstr>Zukunf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ppstation</dc:title>
  <dc:creator>Luca Schaefli</dc:creator>
  <cp:lastModifiedBy>Luca Schaefli</cp:lastModifiedBy>
  <cp:revision>27</cp:revision>
  <dcterms:created xsi:type="dcterms:W3CDTF">2019-04-29T14:49:16Z</dcterms:created>
  <dcterms:modified xsi:type="dcterms:W3CDTF">2019-05-02T17:39:54Z</dcterms:modified>
</cp:coreProperties>
</file>